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4.xml" ContentType="application/vnd.openxmlformats-officedocument.them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5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tags/tag2.xml" ContentType="application/vnd.openxmlformats-officedocument.presentationml.tags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autoCompressPictures="0">
  <p:sldMasterIdLst>
    <p:sldMasterId id="2147483648" r:id="rId1"/>
    <p:sldMasterId id="2147483653" r:id="rId2"/>
    <p:sldMasterId id="2147483722" r:id="rId3"/>
    <p:sldMasterId id="2147483743" r:id="rId4"/>
    <p:sldMasterId id="2147483764" r:id="rId5"/>
    <p:sldMasterId id="2147483771" r:id="rId6"/>
  </p:sldMasterIdLst>
  <p:notesMasterIdLst>
    <p:notesMasterId r:id="rId44"/>
  </p:notesMasterIdLst>
  <p:handoutMasterIdLst>
    <p:handoutMasterId r:id="rId45"/>
  </p:handoutMasterIdLst>
  <p:sldIdLst>
    <p:sldId id="312" r:id="rId7"/>
    <p:sldId id="316" r:id="rId8"/>
    <p:sldId id="317" r:id="rId9"/>
    <p:sldId id="318" r:id="rId10"/>
    <p:sldId id="321" r:id="rId11"/>
    <p:sldId id="336" r:id="rId12"/>
    <p:sldId id="287" r:id="rId13"/>
    <p:sldId id="322" r:id="rId14"/>
    <p:sldId id="328" r:id="rId15"/>
    <p:sldId id="323" r:id="rId16"/>
    <p:sldId id="329" r:id="rId17"/>
    <p:sldId id="330" r:id="rId18"/>
    <p:sldId id="331" r:id="rId19"/>
    <p:sldId id="295" r:id="rId20"/>
    <p:sldId id="327" r:id="rId21"/>
    <p:sldId id="332" r:id="rId22"/>
    <p:sldId id="333" r:id="rId23"/>
    <p:sldId id="324" r:id="rId24"/>
    <p:sldId id="345" r:id="rId25"/>
    <p:sldId id="326" r:id="rId26"/>
    <p:sldId id="303" r:id="rId27"/>
    <p:sldId id="337" r:id="rId28"/>
    <p:sldId id="304" r:id="rId29"/>
    <p:sldId id="338" r:id="rId30"/>
    <p:sldId id="305" r:id="rId31"/>
    <p:sldId id="339" r:id="rId32"/>
    <p:sldId id="306" r:id="rId33"/>
    <p:sldId id="340" r:id="rId34"/>
    <p:sldId id="307" r:id="rId35"/>
    <p:sldId id="341" r:id="rId36"/>
    <p:sldId id="308" r:id="rId37"/>
    <p:sldId id="342" r:id="rId38"/>
    <p:sldId id="309" r:id="rId39"/>
    <p:sldId id="343" r:id="rId40"/>
    <p:sldId id="310" r:id="rId41"/>
    <p:sldId id="344" r:id="rId42"/>
    <p:sldId id="315" r:id="rId43"/>
  </p:sldIdLst>
  <p:sldSz cx="9144000" cy="5143500" type="screen16x9"/>
  <p:notesSz cx="6858000" cy="9144000"/>
  <p:embeddedFontLst>
    <p:embeddedFont>
      <p:font typeface="Basis Grotesque Pro" panose="020B0604020202020204" charset="0"/>
      <p:regular r:id="rId46"/>
      <p:bold r:id="rId47"/>
    </p:embeddedFont>
    <p:embeddedFont>
      <p:font typeface="Basis Grotesque Pro Medium" panose="020B0604020202020204" charset="0"/>
      <p:regular r:id="rId48"/>
    </p:embeddedFont>
    <p:embeddedFont>
      <p:font typeface="Calibri" panose="020F0502020204030204" pitchFamily="34" charset="0"/>
      <p:regular r:id="rId49"/>
      <p:bold r:id="rId50"/>
      <p:italic r:id="rId51"/>
      <p:boldItalic r:id="rId52"/>
    </p:embeddedFont>
    <p:embeddedFont>
      <p:font typeface="Rostelecom Basis" panose="020B0503030604040103" pitchFamily="34" charset="0"/>
      <p:regular r:id="rId53"/>
      <p:bold r:id="rId54"/>
    </p:embeddedFont>
    <p:embeddedFont>
      <p:font typeface="Rostelecom Basis Medium" panose="020B0603030604040103" pitchFamily="34" charset="0"/>
      <p:regular r:id="rId55"/>
    </p:embeddedFont>
    <p:embeddedFont>
      <p:font typeface="Tahoma" panose="020B0604030504040204" pitchFamily="34" charset="0"/>
      <p:regular r:id="rId56"/>
      <p:bold r:id="rId57"/>
    </p:embeddedFont>
    <p:embeddedFont>
      <p:font typeface="Verdana" panose="020B0604030504040204" pitchFamily="34" charset="0"/>
      <p:regular r:id="rId58"/>
      <p:bold r:id="rId59"/>
      <p:italic r:id="rId60"/>
      <p:boldItalic r:id="rId61"/>
    </p:embeddedFont>
  </p:embeddedFontLst>
  <p:defaultTextStyle>
    <a:defPPr marL="0" marR="0" indent="0" algn="l" defTabSz="342900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675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1pPr>
    <a:lvl2pPr marL="0" marR="0" indent="85725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2pPr>
    <a:lvl3pPr marL="0" marR="0" indent="171450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3pPr>
    <a:lvl4pPr marL="0" marR="0" indent="257175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4pPr>
    <a:lvl5pPr marL="0" marR="0" indent="342900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5pPr>
    <a:lvl6pPr marL="0" marR="0" indent="428625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6pPr>
    <a:lvl7pPr marL="0" marR="0" indent="514350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7pPr>
    <a:lvl8pPr marL="0" marR="0" indent="600075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8pPr>
    <a:lvl9pPr marL="0" marR="0" indent="685800" algn="ctr" defTabSz="309563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125" b="1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Helvetica Neue"/>
        <a:ea typeface="Helvetica Neue"/>
        <a:cs typeface="Helvetica Neue"/>
        <a:sym typeface="Helvetica Neue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00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600FF"/>
    <a:srgbClr val="001C45"/>
    <a:srgbClr val="E1CAEA"/>
    <a:srgbClr val="DBC8EC"/>
    <a:srgbClr val="FF4F12"/>
    <a:srgbClr val="65BBE9"/>
    <a:srgbClr val="275392"/>
    <a:srgbClr val="273A64"/>
    <a:srgbClr val="FF8218"/>
    <a:srgbClr val="FEFE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lumOff val="-13575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>
              <a:hueOff val="114395"/>
              <a:lumOff val="-24975"/>
            </a:schemeClr>
          </a:solidFill>
        </a:fill>
      </a:tcStyle>
    </a:firstRow>
  </a:tblStyle>
  <a:tblStyle styleId="{C7B018BB-80A7-4F77-B60F-C8B233D01FF8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3">
              <a:hueOff val="362282"/>
              <a:satOff val="31803"/>
              <a:lumOff val="-18242"/>
            </a:schemeClr>
          </a:solidFill>
        </a:fill>
      </a:tcStyle>
    </a:firstCol>
    <a:lastRow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929292"/>
              </a:solidFill>
              <a:prstDash val="solid"/>
              <a:miter lim="400000"/>
            </a:ln>
          </a:left>
          <a:right>
            <a:ln w="12700" cap="flat">
              <a:solidFill>
                <a:srgbClr val="929292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929292"/>
              </a:solidFill>
              <a:prstDash val="solid"/>
              <a:miter lim="400000"/>
            </a:ln>
          </a:insideH>
          <a:insideV>
            <a:ln w="12700" cap="flat">
              <a:solidFill>
                <a:srgbClr val="929292"/>
              </a:solidFill>
              <a:prstDash val="solid"/>
              <a:miter lim="400000"/>
            </a:ln>
          </a:insideV>
        </a:tcBdr>
        <a:fill>
          <a:solidFill>
            <a:srgbClr val="017101"/>
          </a:solidFill>
        </a:fill>
      </a:tcStyle>
    </a:firstRow>
  </a:tblStyle>
  <a:tblStyle styleId="{EEE7283C-3CF3-47DC-8721-378D4A62B228}" styleName="">
    <a:tblBg/>
    <a:wholeTbl>
      <a:tcTxStyle b="off" i="off">
        <a:font>
          <a:latin typeface="Helvetica Neue Light"/>
          <a:ea typeface="Helvetica Neue Light"/>
          <a:cs typeface="Helvetica Neue Light"/>
        </a:font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FAF7E9"/>
          </a:solidFill>
        </a:fill>
      </a:tcStyle>
    </a:wholeTbl>
    <a:band2H>
      <a:tcTxStyle/>
      <a:tcStyle>
        <a:tcBdr/>
        <a:fill>
          <a:solidFill>
            <a:srgbClr val="EDEADD"/>
          </a:solidFill>
        </a:fill>
      </a:tcStyle>
    </a:band2H>
    <a:firstCol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9BA00"/>
          </a:solidFill>
        </a:fill>
      </a:tcStyle>
    </a:firstCol>
    <a:la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lastRow>
    <a:firstRow>
      <a:tcTxStyle b="off" i="off">
        <a:fontRef idx="minor">
          <a:srgbClr val="FFFFFF"/>
        </a:fontRef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FF9400"/>
          </a:solidFill>
        </a:fill>
      </a:tcStyle>
    </a:firstRow>
  </a:tblStyle>
  <a:tblStyle styleId="{CF821DB8-F4EB-4A41-A1BA-3FCAFE7338EE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ADBDA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chemeClr val="accent6">
              <a:hueOff val="-146070"/>
              <a:satOff val="-10048"/>
              <a:lumOff val="-30626"/>
            </a:schemeClr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A6AAA9"/>
              </a:solidFill>
              <a:prstDash val="solid"/>
              <a:miter lim="400000"/>
            </a:ln>
          </a:left>
          <a:right>
            <a:ln w="12700" cap="flat">
              <a:solidFill>
                <a:srgbClr val="A6AAA9"/>
              </a:solidFill>
              <a:prstDash val="solid"/>
              <a:miter lim="400000"/>
            </a:ln>
          </a:right>
          <a:top>
            <a:ln w="12700" cap="flat">
              <a:solidFill>
                <a:srgbClr val="A6AAA9"/>
              </a:solidFill>
              <a:prstDash val="solid"/>
              <a:miter lim="400000"/>
            </a:ln>
          </a:top>
          <a:bottom>
            <a:ln w="12700" cap="flat">
              <a:solidFill>
                <a:srgbClr val="A6AAA9"/>
              </a:solidFill>
              <a:prstDash val="solid"/>
              <a:miter lim="400000"/>
            </a:ln>
          </a:bottom>
          <a:insideH>
            <a:ln w="12700" cap="flat">
              <a:solidFill>
                <a:srgbClr val="A6AAA9"/>
              </a:solidFill>
              <a:prstDash val="solid"/>
              <a:miter lim="400000"/>
            </a:ln>
          </a:insideH>
          <a:insideV>
            <a:ln w="12700" cap="flat">
              <a:solidFill>
                <a:srgbClr val="A6AAA9"/>
              </a:solidFill>
              <a:prstDash val="solid"/>
              <a:miter lim="400000"/>
            </a:ln>
          </a:insideV>
        </a:tcBdr>
        <a:fill>
          <a:solidFill>
            <a:srgbClr val="C24785"/>
          </a:solidFill>
        </a:fill>
      </a:tcStyle>
    </a:firstRow>
  </a:tblStyle>
  <a:tblStyle styleId="{33BA23B1-9221-436E-865A-0063620EA4FD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B5B5C1"/>
          </a:solidFill>
        </a:fill>
      </a:tcStyle>
    </a:wholeTbl>
    <a:band2H>
      <a:tcTxStyle/>
      <a:tcStyle>
        <a:tcBdr/>
        <a:fill>
          <a:solidFill>
            <a:srgbClr val="9A9AA5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85F"/>
          </a:solidFill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98089"/>
          </a:solidFill>
        </a:fill>
      </a:tcStyle>
    </a:firstRow>
  </a:tblStyle>
  <a:tblStyle styleId="{2708684C-4D16-4618-839F-0558EEFCDFE6}" styleName="">
    <a:tblBg/>
    <a:wholeTbl>
      <a:tcTxStyle b="off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 Neue"/>
          <a:ea typeface="Helvetica Neue"/>
          <a:cs typeface="Helvetica Neue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964" autoAdjust="0"/>
    <p:restoredTop sz="88431" autoAdjust="0"/>
  </p:normalViewPr>
  <p:slideViewPr>
    <p:cSldViewPr snapToGrid="0" snapToObjects="1">
      <p:cViewPr varScale="1">
        <p:scale>
          <a:sx n="79" d="100"/>
          <a:sy n="79" d="100"/>
        </p:scale>
        <p:origin x="1060" y="60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notesViewPr>
    <p:cSldViewPr snapToGrid="0" snapToObjects="1">
      <p:cViewPr varScale="1">
        <p:scale>
          <a:sx n="88" d="100"/>
          <a:sy n="88" d="100"/>
        </p:scale>
        <p:origin x="2784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font" Target="fonts/font2.fntdata"/><Relationship Id="rId50" Type="http://schemas.openxmlformats.org/officeDocument/2006/relationships/font" Target="fonts/font5.fntdata"/><Relationship Id="rId55" Type="http://schemas.openxmlformats.org/officeDocument/2006/relationships/font" Target="fonts/font10.fntdata"/><Relationship Id="rId63" Type="http://schemas.openxmlformats.org/officeDocument/2006/relationships/viewProps" Target="viewProps.xml"/><Relationship Id="rId7" Type="http://schemas.openxmlformats.org/officeDocument/2006/relationships/slide" Target="slides/slid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54" Type="http://schemas.openxmlformats.org/officeDocument/2006/relationships/font" Target="fonts/font9.fntdata"/><Relationship Id="rId62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handoutMaster" Target="handoutMasters/handoutMaster1.xml"/><Relationship Id="rId53" Type="http://schemas.openxmlformats.org/officeDocument/2006/relationships/font" Target="fonts/font8.fntdata"/><Relationship Id="rId58" Type="http://schemas.openxmlformats.org/officeDocument/2006/relationships/font" Target="fonts/font13.fntdata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openxmlformats.org/officeDocument/2006/relationships/font" Target="fonts/font4.fntdata"/><Relationship Id="rId57" Type="http://schemas.openxmlformats.org/officeDocument/2006/relationships/font" Target="fonts/font12.fntdata"/><Relationship Id="rId61" Type="http://schemas.openxmlformats.org/officeDocument/2006/relationships/font" Target="fonts/font16.fntdata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notesMaster" Target="notesMasters/notesMaster1.xml"/><Relationship Id="rId52" Type="http://schemas.openxmlformats.org/officeDocument/2006/relationships/font" Target="fonts/font7.fntdata"/><Relationship Id="rId60" Type="http://schemas.openxmlformats.org/officeDocument/2006/relationships/font" Target="fonts/font15.fntdata"/><Relationship Id="rId65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slide" Target="slides/slide37.xml"/><Relationship Id="rId48" Type="http://schemas.openxmlformats.org/officeDocument/2006/relationships/font" Target="fonts/font3.fntdata"/><Relationship Id="rId56" Type="http://schemas.openxmlformats.org/officeDocument/2006/relationships/font" Target="fonts/font11.fntdata"/><Relationship Id="rId64" Type="http://schemas.openxmlformats.org/officeDocument/2006/relationships/theme" Target="theme/theme1.xml"/><Relationship Id="rId8" Type="http://schemas.openxmlformats.org/officeDocument/2006/relationships/slide" Target="slides/slide2.xml"/><Relationship Id="rId51" Type="http://schemas.openxmlformats.org/officeDocument/2006/relationships/font" Target="fonts/font6.fntdata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font" Target="fonts/font1.fntdata"/><Relationship Id="rId59" Type="http://schemas.openxmlformats.org/officeDocument/2006/relationships/font" Target="fonts/font14.fntdata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b="0" dirty="0">
              <a:latin typeface="Arial Regular" charset="0"/>
              <a:ea typeface="Arial Regular" charset="0"/>
              <a:cs typeface="Arial Regular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50BEBE-4480-C44C-9C62-388EF42AD068}" type="datetimeFigureOut">
              <a:rPr lang="en-US" b="0" smtClean="0">
                <a:latin typeface="Arial Regular" charset="0"/>
                <a:ea typeface="Arial Regular" charset="0"/>
                <a:cs typeface="Arial Regular" charset="0"/>
              </a:rPr>
              <a:t>2/21/2022</a:t>
            </a:fld>
            <a:endParaRPr lang="en-US" b="0" dirty="0">
              <a:latin typeface="Arial Regular" charset="0"/>
              <a:ea typeface="Arial Regular" charset="0"/>
              <a:cs typeface="Arial Regular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b="0" dirty="0">
              <a:latin typeface="Arial Regular" charset="0"/>
              <a:ea typeface="Arial Regular" charset="0"/>
              <a:cs typeface="Arial Regular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2624BE-4E4F-A141-A6D4-0106257B5BE2}" type="slidenum">
              <a:rPr lang="en-US" b="0" smtClean="0">
                <a:latin typeface="Arial Regular" charset="0"/>
                <a:ea typeface="Arial Regular" charset="0"/>
                <a:cs typeface="Arial Regular" charset="0"/>
              </a:rPr>
              <a:t>‹#›</a:t>
            </a:fld>
            <a:endParaRPr lang="en-US" b="0" dirty="0">
              <a:latin typeface="Arial Regular" charset="0"/>
              <a:ea typeface="Arial Regular" charset="0"/>
              <a:cs typeface="Arial Regular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58244276"/>
      </p:ext>
    </p:extLst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Shape 115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  <p:sp>
        <p:nvSpPr>
          <p:cNvPr id="116" name="Shape 116"/>
          <p:cNvSpPr>
            <a:spLocks noGrp="1"/>
          </p:cNvSpPr>
          <p:nvPr>
            <p:ph type="body" sz="quarter" idx="1"/>
          </p:nvPr>
        </p:nvSpPr>
        <p:spPr>
          <a:xfrm>
            <a:off x="914400" y="4343400"/>
            <a:ext cx="5029200" cy="4114800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224335396"/>
      </p:ext>
    </p:extLst>
  </p:cSld>
  <p:clrMap bg1="lt1" tx1="dk1" bg2="lt2" tx2="dk2" accent1="accent1" accent2="accent2" accent3="accent3" accent4="accent4" accent5="accent5" accent6="accent6" hlink="hlink" folHlink="folHlink"/>
  <p:hf sldNum="0" hdr="0" dt="0"/>
  <p:notesStyle>
    <a:lvl1pPr defTabSz="171450" latinLnBrk="0">
      <a:lnSpc>
        <a:spcPct val="117999"/>
      </a:lnSpc>
      <a:defRPr sz="825" b="0" i="0">
        <a:latin typeface="Arial Regular" charset="0"/>
        <a:ea typeface="Arial Regular" charset="0"/>
        <a:cs typeface="Arial Regular" charset="0"/>
        <a:sym typeface="Helvetica Neue"/>
      </a:defRPr>
    </a:lvl1pPr>
    <a:lvl2pPr indent="85725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2pPr>
    <a:lvl3pPr indent="171450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3pPr>
    <a:lvl4pPr indent="257175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4pPr>
    <a:lvl5pPr indent="342900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5pPr>
    <a:lvl6pPr indent="428625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6pPr>
    <a:lvl7pPr indent="514350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7pPr>
    <a:lvl8pPr indent="600075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8pPr>
    <a:lvl9pPr indent="685800" defTabSz="171450" latinLnBrk="0">
      <a:lnSpc>
        <a:spcPct val="117999"/>
      </a:lnSpc>
      <a:defRPr sz="825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>
              <a:latin typeface="Rostelecom Basis" panose="020B05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99527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03879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2033993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6266018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8772561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4659405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451585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63564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8988315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>
              <a:latin typeface="Rostelecom Basis regular "/>
            </a:endParaRPr>
          </a:p>
        </p:txBody>
      </p:sp>
    </p:spTree>
    <p:extLst>
      <p:ext uri="{BB962C8B-B14F-4D97-AF65-F5344CB8AC3E}">
        <p14:creationId xmlns:p14="http://schemas.microsoft.com/office/powerpoint/2010/main" val="366897394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571922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>
              <a:latin typeface="Rostelecom Basis" panose="020B0503030604040103" pitchFamily="34" charset="0"/>
            </a:endParaRPr>
          </a:p>
          <a:p>
            <a:endParaRPr lang="ru-RU" dirty="0">
              <a:latin typeface="Rostelecom Basis" panose="020B05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047889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31911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825" b="0" i="0" dirty="0">
                <a:effectLst/>
                <a:latin typeface="Rostelecom Basis" panose="020B0503030604040103" pitchFamily="34" charset="0"/>
                <a:ea typeface="Arial Regular" charset="0"/>
                <a:cs typeface="Arial Regular" charset="0"/>
                <a:sym typeface="Helvetica Neue"/>
              </a:rPr>
              <a:t> </a:t>
            </a:r>
          </a:p>
          <a:p>
            <a:endParaRPr lang="ru-RU" dirty="0">
              <a:latin typeface="Rostelecom Basis" panose="020B05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743544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>
              <a:latin typeface="Rostelecom Basis" panose="020B0503030604040103" pitchFamily="34" charset="0"/>
            </a:endParaRPr>
          </a:p>
          <a:p>
            <a:endParaRPr lang="ru-RU" dirty="0">
              <a:latin typeface="Rostelecom Basis" panose="020B05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625281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908054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978934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1198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012183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>
              <a:latin typeface="Rostelecom Basis" panose="020B05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333576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1.png"/><Relationship Id="rId4" Type="http://schemas.openxmlformats.org/officeDocument/2006/relationships/image" Target="../media/image16.png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 Символ «Ростелеком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2C3B0135-AD67-44A2-B456-0DEAAF6528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4922" y="1780408"/>
            <a:ext cx="954156" cy="1582684"/>
          </a:xfrm>
          <a:prstGeom prst="rect">
            <a:avLst/>
          </a:prstGeom>
        </p:spPr>
      </p:pic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21">
            <a:extLst>
              <a:ext uri="{FF2B5EF4-FFF2-40B4-BE49-F238E27FC236}">
                <a16:creationId xmlns:a16="http://schemas.microsoft.com/office/drawing/2014/main" id="{01D8B5CF-86D3-4C23-9345-61601C7EE53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478356" y="0"/>
            <a:ext cx="4668063" cy="5144400"/>
          </a:xfrm>
          <a:custGeom>
            <a:avLst/>
            <a:gdLst>
              <a:gd name="connsiteX0" fmla="*/ 0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0 w 5005840"/>
              <a:gd name="connsiteY4" fmla="*/ 0 h 5143500"/>
              <a:gd name="connsiteX0" fmla="*/ 2235941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2235941 w 5005840"/>
              <a:gd name="connsiteY4" fmla="*/ 0 h 5143500"/>
              <a:gd name="connsiteX0" fmla="*/ 1882195 w 4652094"/>
              <a:gd name="connsiteY0" fmla="*/ 0 h 5143500"/>
              <a:gd name="connsiteX1" fmla="*/ 4652094 w 4652094"/>
              <a:gd name="connsiteY1" fmla="*/ 0 h 5143500"/>
              <a:gd name="connsiteX2" fmla="*/ 4652094 w 4652094"/>
              <a:gd name="connsiteY2" fmla="*/ 5143500 h 5143500"/>
              <a:gd name="connsiteX3" fmla="*/ 0 w 4652094"/>
              <a:gd name="connsiteY3" fmla="*/ 5136825 h 5143500"/>
              <a:gd name="connsiteX4" fmla="*/ 1882195 w 4652094"/>
              <a:gd name="connsiteY4" fmla="*/ 0 h 5143500"/>
              <a:gd name="connsiteX0" fmla="*/ 1839332 w 4609231"/>
              <a:gd name="connsiteY0" fmla="*/ 0 h 5167782"/>
              <a:gd name="connsiteX1" fmla="*/ 4609231 w 4609231"/>
              <a:gd name="connsiteY1" fmla="*/ 0 h 5167782"/>
              <a:gd name="connsiteX2" fmla="*/ 4609231 w 4609231"/>
              <a:gd name="connsiteY2" fmla="*/ 5143500 h 5167782"/>
              <a:gd name="connsiteX3" fmla="*/ 0 w 4609231"/>
              <a:gd name="connsiteY3" fmla="*/ 5167782 h 5167782"/>
              <a:gd name="connsiteX4" fmla="*/ 1839332 w 4609231"/>
              <a:gd name="connsiteY4" fmla="*/ 0 h 5167782"/>
              <a:gd name="connsiteX0" fmla="*/ 1886957 w 4656856"/>
              <a:gd name="connsiteY0" fmla="*/ 0 h 5146350"/>
              <a:gd name="connsiteX1" fmla="*/ 4656856 w 4656856"/>
              <a:gd name="connsiteY1" fmla="*/ 0 h 5146350"/>
              <a:gd name="connsiteX2" fmla="*/ 4656856 w 4656856"/>
              <a:gd name="connsiteY2" fmla="*/ 5143500 h 5146350"/>
              <a:gd name="connsiteX3" fmla="*/ 0 w 4656856"/>
              <a:gd name="connsiteY3" fmla="*/ 5146350 h 5146350"/>
              <a:gd name="connsiteX4" fmla="*/ 1886957 w 4656856"/>
              <a:gd name="connsiteY4" fmla="*/ 0 h 5146350"/>
              <a:gd name="connsiteX0" fmla="*/ 1883782 w 4656856"/>
              <a:gd name="connsiteY0" fmla="*/ 0 h 5149525"/>
              <a:gd name="connsiteX1" fmla="*/ 4656856 w 4656856"/>
              <a:gd name="connsiteY1" fmla="*/ 3175 h 5149525"/>
              <a:gd name="connsiteX2" fmla="*/ 4656856 w 4656856"/>
              <a:gd name="connsiteY2" fmla="*/ 5146675 h 5149525"/>
              <a:gd name="connsiteX3" fmla="*/ 0 w 4656856"/>
              <a:gd name="connsiteY3" fmla="*/ 5149525 h 5149525"/>
              <a:gd name="connsiteX4" fmla="*/ 1883782 w 4656856"/>
              <a:gd name="connsiteY4" fmla="*/ 0 h 5149525"/>
              <a:gd name="connsiteX0" fmla="*/ 1820886 w 4593960"/>
              <a:gd name="connsiteY0" fmla="*/ 0 h 5146675"/>
              <a:gd name="connsiteX1" fmla="*/ 4593960 w 4593960"/>
              <a:gd name="connsiteY1" fmla="*/ 3175 h 5146675"/>
              <a:gd name="connsiteX2" fmla="*/ 4593960 w 4593960"/>
              <a:gd name="connsiteY2" fmla="*/ 5146675 h 5146675"/>
              <a:gd name="connsiteX3" fmla="*/ 0 w 4593960"/>
              <a:gd name="connsiteY3" fmla="*/ 5098725 h 5146675"/>
              <a:gd name="connsiteX4" fmla="*/ 1820886 w 4593960"/>
              <a:gd name="connsiteY4" fmla="*/ 0 h 5146675"/>
              <a:gd name="connsiteX0" fmla="*/ 1886201 w 4659275"/>
              <a:gd name="connsiteY0" fmla="*/ 0 h 5146675"/>
              <a:gd name="connsiteX1" fmla="*/ 4659275 w 4659275"/>
              <a:gd name="connsiteY1" fmla="*/ 3175 h 5146675"/>
              <a:gd name="connsiteX2" fmla="*/ 4659275 w 4659275"/>
              <a:gd name="connsiteY2" fmla="*/ 5146675 h 5146675"/>
              <a:gd name="connsiteX3" fmla="*/ 0 w 4659275"/>
              <a:gd name="connsiteY3" fmla="*/ 5144687 h 5146675"/>
              <a:gd name="connsiteX4" fmla="*/ 1886201 w 4659275"/>
              <a:gd name="connsiteY4" fmla="*/ 0 h 5146675"/>
              <a:gd name="connsiteX0" fmla="*/ 1886201 w 4659275"/>
              <a:gd name="connsiteY0" fmla="*/ 0 h 5144687"/>
              <a:gd name="connsiteX1" fmla="*/ 4659275 w 4659275"/>
              <a:gd name="connsiteY1" fmla="*/ 3175 h 5144687"/>
              <a:gd name="connsiteX2" fmla="*/ 4591542 w 4659275"/>
              <a:gd name="connsiteY2" fmla="*/ 5086199 h 5144687"/>
              <a:gd name="connsiteX3" fmla="*/ 0 w 4659275"/>
              <a:gd name="connsiteY3" fmla="*/ 5144687 h 5144687"/>
              <a:gd name="connsiteX4" fmla="*/ 1886201 w 4659275"/>
              <a:gd name="connsiteY4" fmla="*/ 0 h 5144687"/>
              <a:gd name="connsiteX0" fmla="*/ 1886201 w 4661694"/>
              <a:gd name="connsiteY0" fmla="*/ 0 h 5144687"/>
              <a:gd name="connsiteX1" fmla="*/ 4659275 w 4661694"/>
              <a:gd name="connsiteY1" fmla="*/ 3175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886201 w 4661694"/>
              <a:gd name="connsiteY0" fmla="*/ 0 h 5144687"/>
              <a:gd name="connsiteX1" fmla="*/ 4625408 w 4661694"/>
              <a:gd name="connsiteY1" fmla="*/ 41880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886201 w 4661694"/>
              <a:gd name="connsiteY0" fmla="*/ 0 h 5144687"/>
              <a:gd name="connsiteX1" fmla="*/ 4659275 w 4661694"/>
              <a:gd name="connsiteY1" fmla="*/ 3175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900716 w 4661694"/>
              <a:gd name="connsiteY0" fmla="*/ 37949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900716 w 4661694"/>
              <a:gd name="connsiteY4" fmla="*/ 37949 h 514151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6201 w 4661694"/>
              <a:gd name="connsiteY0" fmla="*/ 1663 h 5143462"/>
              <a:gd name="connsiteX1" fmla="*/ 4659275 w 4661694"/>
              <a:gd name="connsiteY1" fmla="*/ 0 h 5143462"/>
              <a:gd name="connsiteX2" fmla="*/ 4661694 w 4661694"/>
              <a:gd name="connsiteY2" fmla="*/ 5143462 h 5143462"/>
              <a:gd name="connsiteX3" fmla="*/ 0 w 4661694"/>
              <a:gd name="connsiteY3" fmla="*/ 5141512 h 5143462"/>
              <a:gd name="connsiteX4" fmla="*/ 1886201 w 4661694"/>
              <a:gd name="connsiteY4" fmla="*/ 1663 h 514346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0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8582 w 4664075"/>
              <a:gd name="connsiteY0" fmla="*/ 1663 h 5141512"/>
              <a:gd name="connsiteX1" fmla="*/ 4661656 w 4664075"/>
              <a:gd name="connsiteY1" fmla="*/ 0 h 5141512"/>
              <a:gd name="connsiteX2" fmla="*/ 4664075 w 4664075"/>
              <a:gd name="connsiteY2" fmla="*/ 5141080 h 5141512"/>
              <a:gd name="connsiteX3" fmla="*/ 0 w 4664075"/>
              <a:gd name="connsiteY3" fmla="*/ 5141512 h 5141512"/>
              <a:gd name="connsiteX4" fmla="*/ 1888582 w 4664075"/>
              <a:gd name="connsiteY4" fmla="*/ 1663 h 514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4075" h="5141512">
                <a:moveTo>
                  <a:pt x="1888582" y="1663"/>
                </a:moveTo>
                <a:lnTo>
                  <a:pt x="4661656" y="0"/>
                </a:lnTo>
                <a:cubicBezTo>
                  <a:pt x="4662462" y="1713694"/>
                  <a:pt x="4663269" y="3427386"/>
                  <a:pt x="4664075" y="5141080"/>
                </a:cubicBezTo>
                <a:lnTo>
                  <a:pt x="0" y="5141512"/>
                </a:lnTo>
                <a:lnTo>
                  <a:pt x="1888582" y="16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indent="0" algn="r">
              <a:buNone/>
              <a:defRPr sz="1000">
                <a:latin typeface="+mj-lt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25C69920-6C8C-45FB-A5D0-7EDAEC4CF25A}"/>
              </a:ext>
            </a:extLst>
          </p:cNvPr>
          <p:cNvSpPr/>
          <p:nvPr userDrawn="1"/>
        </p:nvSpPr>
        <p:spPr>
          <a:xfrm>
            <a:off x="0" y="-260"/>
            <a:ext cx="6369607" cy="5144660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371493 w 6869152"/>
              <a:gd name="connsiteY2" fmla="*/ 685800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7632391"/>
              <a:gd name="connsiteY0" fmla="*/ 0 h 6869152"/>
              <a:gd name="connsiteX1" fmla="*/ 7632391 w 7632391"/>
              <a:gd name="connsiteY1" fmla="*/ 11151 h 6869152"/>
              <a:gd name="connsiteX2" fmla="*/ 5371493 w 7632391"/>
              <a:gd name="connsiteY2" fmla="*/ 6858002 h 6869152"/>
              <a:gd name="connsiteX3" fmla="*/ 0 w 7632391"/>
              <a:gd name="connsiteY3" fmla="*/ 6869152 h 6869152"/>
              <a:gd name="connsiteX4" fmla="*/ 0 w 7632391"/>
              <a:gd name="connsiteY4" fmla="*/ 0 h 6869152"/>
              <a:gd name="connsiteX0" fmla="*/ 0 w 7629198"/>
              <a:gd name="connsiteY0" fmla="*/ 0 h 6869152"/>
              <a:gd name="connsiteX1" fmla="*/ 7629198 w 7629198"/>
              <a:gd name="connsiteY1" fmla="*/ 21754 h 6869152"/>
              <a:gd name="connsiteX2" fmla="*/ 5371493 w 7629198"/>
              <a:gd name="connsiteY2" fmla="*/ 6858002 h 6869152"/>
              <a:gd name="connsiteX3" fmla="*/ 0 w 7629198"/>
              <a:gd name="connsiteY3" fmla="*/ 6869152 h 6869152"/>
              <a:gd name="connsiteX4" fmla="*/ 0 w 7629198"/>
              <a:gd name="connsiteY4" fmla="*/ 0 h 6869152"/>
              <a:gd name="connsiteX0" fmla="*/ 31928 w 7629198"/>
              <a:gd name="connsiteY0" fmla="*/ 2065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1928 w 7629198"/>
              <a:gd name="connsiteY4" fmla="*/ 20655 h 6847398"/>
              <a:gd name="connsiteX0" fmla="*/ 0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0 w 7629198"/>
              <a:gd name="connsiteY4" fmla="*/ 2985 h 6847398"/>
              <a:gd name="connsiteX0" fmla="*/ 34766 w 7629198"/>
              <a:gd name="connsiteY0" fmla="*/ 31848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4766 w 7629198"/>
              <a:gd name="connsiteY4" fmla="*/ 31848 h 6847398"/>
              <a:gd name="connsiteX0" fmla="*/ 2897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2897 w 7629198"/>
              <a:gd name="connsiteY4" fmla="*/ 2985 h 6847398"/>
              <a:gd name="connsiteX0" fmla="*/ 19 w 7626320"/>
              <a:gd name="connsiteY0" fmla="*/ 2985 h 6836248"/>
              <a:gd name="connsiteX1" fmla="*/ 7626320 w 7626320"/>
              <a:gd name="connsiteY1" fmla="*/ 0 h 6836248"/>
              <a:gd name="connsiteX2" fmla="*/ 5368615 w 7626320"/>
              <a:gd name="connsiteY2" fmla="*/ 6836248 h 6836248"/>
              <a:gd name="connsiteX3" fmla="*/ 34785 w 7626320"/>
              <a:gd name="connsiteY3" fmla="*/ 6786467 h 6836248"/>
              <a:gd name="connsiteX4" fmla="*/ 19 w 7626320"/>
              <a:gd name="connsiteY4" fmla="*/ 2985 h 6836248"/>
              <a:gd name="connsiteX0" fmla="*/ 278 w 7626579"/>
              <a:gd name="connsiteY0" fmla="*/ 2985 h 6836248"/>
              <a:gd name="connsiteX1" fmla="*/ 7626579 w 7626579"/>
              <a:gd name="connsiteY1" fmla="*/ 0 h 6836248"/>
              <a:gd name="connsiteX2" fmla="*/ 5368874 w 7626579"/>
              <a:gd name="connsiteY2" fmla="*/ 6836248 h 6836248"/>
              <a:gd name="connsiteX3" fmla="*/ 278 w 7626579"/>
              <a:gd name="connsiteY3" fmla="*/ 6818536 h 6836248"/>
              <a:gd name="connsiteX4" fmla="*/ 278 w 7626579"/>
              <a:gd name="connsiteY4" fmla="*/ 2985 h 6836248"/>
              <a:gd name="connsiteX0" fmla="*/ 278 w 7626579"/>
              <a:gd name="connsiteY0" fmla="*/ 2985 h 6818536"/>
              <a:gd name="connsiteX1" fmla="*/ 7626579 w 7626579"/>
              <a:gd name="connsiteY1" fmla="*/ 0 h 6818536"/>
              <a:gd name="connsiteX2" fmla="*/ 5368874 w 7626579"/>
              <a:gd name="connsiteY2" fmla="*/ 6817007 h 6818536"/>
              <a:gd name="connsiteX3" fmla="*/ 278 w 7626579"/>
              <a:gd name="connsiteY3" fmla="*/ 6818536 h 6818536"/>
              <a:gd name="connsiteX4" fmla="*/ 278 w 7626579"/>
              <a:gd name="connsiteY4" fmla="*/ 2985 h 681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27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Заголовок 17">
            <a:extLst>
              <a:ext uri="{FF2B5EF4-FFF2-40B4-BE49-F238E27FC236}">
                <a16:creationId xmlns:a16="http://schemas.microsoft.com/office/drawing/2014/main" id="{8102BAB2-1FB9-2C4D-A635-4EEE12DE7B2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42073B4-36FF-CD48-9214-15F54060337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024698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21">
            <a:extLst>
              <a:ext uri="{FF2B5EF4-FFF2-40B4-BE49-F238E27FC236}">
                <a16:creationId xmlns:a16="http://schemas.microsoft.com/office/drawing/2014/main" id="{2BE47A98-BD81-42FD-9699-18B6F8F74C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478356" y="0"/>
            <a:ext cx="4668063" cy="5144400"/>
          </a:xfrm>
          <a:custGeom>
            <a:avLst/>
            <a:gdLst>
              <a:gd name="connsiteX0" fmla="*/ 0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0 w 5005840"/>
              <a:gd name="connsiteY4" fmla="*/ 0 h 5143500"/>
              <a:gd name="connsiteX0" fmla="*/ 2235941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2235941 w 5005840"/>
              <a:gd name="connsiteY4" fmla="*/ 0 h 5143500"/>
              <a:gd name="connsiteX0" fmla="*/ 1882195 w 4652094"/>
              <a:gd name="connsiteY0" fmla="*/ 0 h 5143500"/>
              <a:gd name="connsiteX1" fmla="*/ 4652094 w 4652094"/>
              <a:gd name="connsiteY1" fmla="*/ 0 h 5143500"/>
              <a:gd name="connsiteX2" fmla="*/ 4652094 w 4652094"/>
              <a:gd name="connsiteY2" fmla="*/ 5143500 h 5143500"/>
              <a:gd name="connsiteX3" fmla="*/ 0 w 4652094"/>
              <a:gd name="connsiteY3" fmla="*/ 5136825 h 5143500"/>
              <a:gd name="connsiteX4" fmla="*/ 1882195 w 4652094"/>
              <a:gd name="connsiteY4" fmla="*/ 0 h 5143500"/>
              <a:gd name="connsiteX0" fmla="*/ 1839332 w 4609231"/>
              <a:gd name="connsiteY0" fmla="*/ 0 h 5167782"/>
              <a:gd name="connsiteX1" fmla="*/ 4609231 w 4609231"/>
              <a:gd name="connsiteY1" fmla="*/ 0 h 5167782"/>
              <a:gd name="connsiteX2" fmla="*/ 4609231 w 4609231"/>
              <a:gd name="connsiteY2" fmla="*/ 5143500 h 5167782"/>
              <a:gd name="connsiteX3" fmla="*/ 0 w 4609231"/>
              <a:gd name="connsiteY3" fmla="*/ 5167782 h 5167782"/>
              <a:gd name="connsiteX4" fmla="*/ 1839332 w 4609231"/>
              <a:gd name="connsiteY4" fmla="*/ 0 h 5167782"/>
              <a:gd name="connsiteX0" fmla="*/ 1886957 w 4656856"/>
              <a:gd name="connsiteY0" fmla="*/ 0 h 5146350"/>
              <a:gd name="connsiteX1" fmla="*/ 4656856 w 4656856"/>
              <a:gd name="connsiteY1" fmla="*/ 0 h 5146350"/>
              <a:gd name="connsiteX2" fmla="*/ 4656856 w 4656856"/>
              <a:gd name="connsiteY2" fmla="*/ 5143500 h 5146350"/>
              <a:gd name="connsiteX3" fmla="*/ 0 w 4656856"/>
              <a:gd name="connsiteY3" fmla="*/ 5146350 h 5146350"/>
              <a:gd name="connsiteX4" fmla="*/ 1886957 w 4656856"/>
              <a:gd name="connsiteY4" fmla="*/ 0 h 5146350"/>
              <a:gd name="connsiteX0" fmla="*/ 1883782 w 4656856"/>
              <a:gd name="connsiteY0" fmla="*/ 0 h 5149525"/>
              <a:gd name="connsiteX1" fmla="*/ 4656856 w 4656856"/>
              <a:gd name="connsiteY1" fmla="*/ 3175 h 5149525"/>
              <a:gd name="connsiteX2" fmla="*/ 4656856 w 4656856"/>
              <a:gd name="connsiteY2" fmla="*/ 5146675 h 5149525"/>
              <a:gd name="connsiteX3" fmla="*/ 0 w 4656856"/>
              <a:gd name="connsiteY3" fmla="*/ 5149525 h 5149525"/>
              <a:gd name="connsiteX4" fmla="*/ 1883782 w 4656856"/>
              <a:gd name="connsiteY4" fmla="*/ 0 h 5149525"/>
              <a:gd name="connsiteX0" fmla="*/ 1820886 w 4593960"/>
              <a:gd name="connsiteY0" fmla="*/ 0 h 5146675"/>
              <a:gd name="connsiteX1" fmla="*/ 4593960 w 4593960"/>
              <a:gd name="connsiteY1" fmla="*/ 3175 h 5146675"/>
              <a:gd name="connsiteX2" fmla="*/ 4593960 w 4593960"/>
              <a:gd name="connsiteY2" fmla="*/ 5146675 h 5146675"/>
              <a:gd name="connsiteX3" fmla="*/ 0 w 4593960"/>
              <a:gd name="connsiteY3" fmla="*/ 5098725 h 5146675"/>
              <a:gd name="connsiteX4" fmla="*/ 1820886 w 4593960"/>
              <a:gd name="connsiteY4" fmla="*/ 0 h 5146675"/>
              <a:gd name="connsiteX0" fmla="*/ 1886201 w 4659275"/>
              <a:gd name="connsiteY0" fmla="*/ 0 h 5146675"/>
              <a:gd name="connsiteX1" fmla="*/ 4659275 w 4659275"/>
              <a:gd name="connsiteY1" fmla="*/ 3175 h 5146675"/>
              <a:gd name="connsiteX2" fmla="*/ 4659275 w 4659275"/>
              <a:gd name="connsiteY2" fmla="*/ 5146675 h 5146675"/>
              <a:gd name="connsiteX3" fmla="*/ 0 w 4659275"/>
              <a:gd name="connsiteY3" fmla="*/ 5144687 h 5146675"/>
              <a:gd name="connsiteX4" fmla="*/ 1886201 w 4659275"/>
              <a:gd name="connsiteY4" fmla="*/ 0 h 5146675"/>
              <a:gd name="connsiteX0" fmla="*/ 1886201 w 4659275"/>
              <a:gd name="connsiteY0" fmla="*/ 0 h 5144687"/>
              <a:gd name="connsiteX1" fmla="*/ 4659275 w 4659275"/>
              <a:gd name="connsiteY1" fmla="*/ 3175 h 5144687"/>
              <a:gd name="connsiteX2" fmla="*/ 4591542 w 4659275"/>
              <a:gd name="connsiteY2" fmla="*/ 5086199 h 5144687"/>
              <a:gd name="connsiteX3" fmla="*/ 0 w 4659275"/>
              <a:gd name="connsiteY3" fmla="*/ 5144687 h 5144687"/>
              <a:gd name="connsiteX4" fmla="*/ 1886201 w 4659275"/>
              <a:gd name="connsiteY4" fmla="*/ 0 h 5144687"/>
              <a:gd name="connsiteX0" fmla="*/ 1886201 w 4661694"/>
              <a:gd name="connsiteY0" fmla="*/ 0 h 5144687"/>
              <a:gd name="connsiteX1" fmla="*/ 4659275 w 4661694"/>
              <a:gd name="connsiteY1" fmla="*/ 3175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886201 w 4661694"/>
              <a:gd name="connsiteY0" fmla="*/ 0 h 5144687"/>
              <a:gd name="connsiteX1" fmla="*/ 4625408 w 4661694"/>
              <a:gd name="connsiteY1" fmla="*/ 41880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886201 w 4661694"/>
              <a:gd name="connsiteY0" fmla="*/ 0 h 5144687"/>
              <a:gd name="connsiteX1" fmla="*/ 4659275 w 4661694"/>
              <a:gd name="connsiteY1" fmla="*/ 3175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900716 w 4661694"/>
              <a:gd name="connsiteY0" fmla="*/ 37949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900716 w 4661694"/>
              <a:gd name="connsiteY4" fmla="*/ 37949 h 514151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6201 w 4661694"/>
              <a:gd name="connsiteY0" fmla="*/ 1663 h 5143462"/>
              <a:gd name="connsiteX1" fmla="*/ 4659275 w 4661694"/>
              <a:gd name="connsiteY1" fmla="*/ 0 h 5143462"/>
              <a:gd name="connsiteX2" fmla="*/ 4661694 w 4661694"/>
              <a:gd name="connsiteY2" fmla="*/ 5143462 h 5143462"/>
              <a:gd name="connsiteX3" fmla="*/ 0 w 4661694"/>
              <a:gd name="connsiteY3" fmla="*/ 5141512 h 5143462"/>
              <a:gd name="connsiteX4" fmla="*/ 1886201 w 4661694"/>
              <a:gd name="connsiteY4" fmla="*/ 1663 h 514346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0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8582 w 4664075"/>
              <a:gd name="connsiteY0" fmla="*/ 1663 h 5141512"/>
              <a:gd name="connsiteX1" fmla="*/ 4661656 w 4664075"/>
              <a:gd name="connsiteY1" fmla="*/ 0 h 5141512"/>
              <a:gd name="connsiteX2" fmla="*/ 4664075 w 4664075"/>
              <a:gd name="connsiteY2" fmla="*/ 5141080 h 5141512"/>
              <a:gd name="connsiteX3" fmla="*/ 0 w 4664075"/>
              <a:gd name="connsiteY3" fmla="*/ 5141512 h 5141512"/>
              <a:gd name="connsiteX4" fmla="*/ 1888582 w 4664075"/>
              <a:gd name="connsiteY4" fmla="*/ 1663 h 514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4075" h="5141512">
                <a:moveTo>
                  <a:pt x="1888582" y="1663"/>
                </a:moveTo>
                <a:lnTo>
                  <a:pt x="4661656" y="0"/>
                </a:lnTo>
                <a:cubicBezTo>
                  <a:pt x="4662462" y="1713694"/>
                  <a:pt x="4663269" y="3427386"/>
                  <a:pt x="4664075" y="5141080"/>
                </a:cubicBezTo>
                <a:lnTo>
                  <a:pt x="0" y="5141512"/>
                </a:lnTo>
                <a:lnTo>
                  <a:pt x="1888582" y="16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indent="0" algn="r">
              <a:buNone/>
              <a:defRPr sz="10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</p:txBody>
      </p:sp>
      <p:sp>
        <p:nvSpPr>
          <p:cNvPr id="14" name="Прямоугольник 6">
            <a:extLst>
              <a:ext uri="{FF2B5EF4-FFF2-40B4-BE49-F238E27FC236}">
                <a16:creationId xmlns:a16="http://schemas.microsoft.com/office/drawing/2014/main" id="{18BB4E71-69F8-46EE-A45E-22EBDD5B058B}"/>
              </a:ext>
            </a:extLst>
          </p:cNvPr>
          <p:cNvSpPr/>
          <p:nvPr userDrawn="1"/>
        </p:nvSpPr>
        <p:spPr>
          <a:xfrm>
            <a:off x="0" y="-260"/>
            <a:ext cx="6369607" cy="5144660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371493 w 6869152"/>
              <a:gd name="connsiteY2" fmla="*/ 685800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7632391"/>
              <a:gd name="connsiteY0" fmla="*/ 0 h 6869152"/>
              <a:gd name="connsiteX1" fmla="*/ 7632391 w 7632391"/>
              <a:gd name="connsiteY1" fmla="*/ 11151 h 6869152"/>
              <a:gd name="connsiteX2" fmla="*/ 5371493 w 7632391"/>
              <a:gd name="connsiteY2" fmla="*/ 6858002 h 6869152"/>
              <a:gd name="connsiteX3" fmla="*/ 0 w 7632391"/>
              <a:gd name="connsiteY3" fmla="*/ 6869152 h 6869152"/>
              <a:gd name="connsiteX4" fmla="*/ 0 w 7632391"/>
              <a:gd name="connsiteY4" fmla="*/ 0 h 6869152"/>
              <a:gd name="connsiteX0" fmla="*/ 0 w 7629198"/>
              <a:gd name="connsiteY0" fmla="*/ 0 h 6869152"/>
              <a:gd name="connsiteX1" fmla="*/ 7629198 w 7629198"/>
              <a:gd name="connsiteY1" fmla="*/ 21754 h 6869152"/>
              <a:gd name="connsiteX2" fmla="*/ 5371493 w 7629198"/>
              <a:gd name="connsiteY2" fmla="*/ 6858002 h 6869152"/>
              <a:gd name="connsiteX3" fmla="*/ 0 w 7629198"/>
              <a:gd name="connsiteY3" fmla="*/ 6869152 h 6869152"/>
              <a:gd name="connsiteX4" fmla="*/ 0 w 7629198"/>
              <a:gd name="connsiteY4" fmla="*/ 0 h 6869152"/>
              <a:gd name="connsiteX0" fmla="*/ 31928 w 7629198"/>
              <a:gd name="connsiteY0" fmla="*/ 2065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1928 w 7629198"/>
              <a:gd name="connsiteY4" fmla="*/ 20655 h 6847398"/>
              <a:gd name="connsiteX0" fmla="*/ 0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0 w 7629198"/>
              <a:gd name="connsiteY4" fmla="*/ 2985 h 6847398"/>
              <a:gd name="connsiteX0" fmla="*/ 34766 w 7629198"/>
              <a:gd name="connsiteY0" fmla="*/ 31848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4766 w 7629198"/>
              <a:gd name="connsiteY4" fmla="*/ 31848 h 6847398"/>
              <a:gd name="connsiteX0" fmla="*/ 2897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2897 w 7629198"/>
              <a:gd name="connsiteY4" fmla="*/ 2985 h 6847398"/>
              <a:gd name="connsiteX0" fmla="*/ 19 w 7626320"/>
              <a:gd name="connsiteY0" fmla="*/ 2985 h 6836248"/>
              <a:gd name="connsiteX1" fmla="*/ 7626320 w 7626320"/>
              <a:gd name="connsiteY1" fmla="*/ 0 h 6836248"/>
              <a:gd name="connsiteX2" fmla="*/ 5368615 w 7626320"/>
              <a:gd name="connsiteY2" fmla="*/ 6836248 h 6836248"/>
              <a:gd name="connsiteX3" fmla="*/ 34785 w 7626320"/>
              <a:gd name="connsiteY3" fmla="*/ 6786467 h 6836248"/>
              <a:gd name="connsiteX4" fmla="*/ 19 w 7626320"/>
              <a:gd name="connsiteY4" fmla="*/ 2985 h 6836248"/>
              <a:gd name="connsiteX0" fmla="*/ 278 w 7626579"/>
              <a:gd name="connsiteY0" fmla="*/ 2985 h 6836248"/>
              <a:gd name="connsiteX1" fmla="*/ 7626579 w 7626579"/>
              <a:gd name="connsiteY1" fmla="*/ 0 h 6836248"/>
              <a:gd name="connsiteX2" fmla="*/ 5368874 w 7626579"/>
              <a:gd name="connsiteY2" fmla="*/ 6836248 h 6836248"/>
              <a:gd name="connsiteX3" fmla="*/ 278 w 7626579"/>
              <a:gd name="connsiteY3" fmla="*/ 6818536 h 6836248"/>
              <a:gd name="connsiteX4" fmla="*/ 278 w 7626579"/>
              <a:gd name="connsiteY4" fmla="*/ 2985 h 6836248"/>
              <a:gd name="connsiteX0" fmla="*/ 278 w 7626579"/>
              <a:gd name="connsiteY0" fmla="*/ 2985 h 6818536"/>
              <a:gd name="connsiteX1" fmla="*/ 7626579 w 7626579"/>
              <a:gd name="connsiteY1" fmla="*/ 0 h 6818536"/>
              <a:gd name="connsiteX2" fmla="*/ 5368874 w 7626579"/>
              <a:gd name="connsiteY2" fmla="*/ 6817007 h 6818536"/>
              <a:gd name="connsiteX3" fmla="*/ 278 w 7626579"/>
              <a:gd name="connsiteY3" fmla="*/ 6818536 h 6818536"/>
              <a:gd name="connsiteX4" fmla="*/ 278 w 7626579"/>
              <a:gd name="connsiteY4" fmla="*/ 2985 h 681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273A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4" name="Заголовок 17">
            <a:extLst>
              <a:ext uri="{FF2B5EF4-FFF2-40B4-BE49-F238E27FC236}">
                <a16:creationId xmlns:a16="http://schemas.microsoft.com/office/drawing/2014/main" id="{CEC4D5E2-FF2B-BC42-9715-CED34D05A1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5F0E834-2542-DC4A-9103-756397EDB8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220137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21">
            <a:extLst>
              <a:ext uri="{FF2B5EF4-FFF2-40B4-BE49-F238E27FC236}">
                <a16:creationId xmlns:a16="http://schemas.microsoft.com/office/drawing/2014/main" id="{2BE47A98-BD81-42FD-9699-18B6F8F74C0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478356" y="0"/>
            <a:ext cx="4668063" cy="5144400"/>
          </a:xfrm>
          <a:custGeom>
            <a:avLst/>
            <a:gdLst>
              <a:gd name="connsiteX0" fmla="*/ 0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0 w 5005840"/>
              <a:gd name="connsiteY4" fmla="*/ 0 h 5143500"/>
              <a:gd name="connsiteX0" fmla="*/ 2235941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2235941 w 5005840"/>
              <a:gd name="connsiteY4" fmla="*/ 0 h 5143500"/>
              <a:gd name="connsiteX0" fmla="*/ 1882195 w 4652094"/>
              <a:gd name="connsiteY0" fmla="*/ 0 h 5143500"/>
              <a:gd name="connsiteX1" fmla="*/ 4652094 w 4652094"/>
              <a:gd name="connsiteY1" fmla="*/ 0 h 5143500"/>
              <a:gd name="connsiteX2" fmla="*/ 4652094 w 4652094"/>
              <a:gd name="connsiteY2" fmla="*/ 5143500 h 5143500"/>
              <a:gd name="connsiteX3" fmla="*/ 0 w 4652094"/>
              <a:gd name="connsiteY3" fmla="*/ 5136825 h 5143500"/>
              <a:gd name="connsiteX4" fmla="*/ 1882195 w 4652094"/>
              <a:gd name="connsiteY4" fmla="*/ 0 h 5143500"/>
              <a:gd name="connsiteX0" fmla="*/ 1839332 w 4609231"/>
              <a:gd name="connsiteY0" fmla="*/ 0 h 5167782"/>
              <a:gd name="connsiteX1" fmla="*/ 4609231 w 4609231"/>
              <a:gd name="connsiteY1" fmla="*/ 0 h 5167782"/>
              <a:gd name="connsiteX2" fmla="*/ 4609231 w 4609231"/>
              <a:gd name="connsiteY2" fmla="*/ 5143500 h 5167782"/>
              <a:gd name="connsiteX3" fmla="*/ 0 w 4609231"/>
              <a:gd name="connsiteY3" fmla="*/ 5167782 h 5167782"/>
              <a:gd name="connsiteX4" fmla="*/ 1839332 w 4609231"/>
              <a:gd name="connsiteY4" fmla="*/ 0 h 5167782"/>
              <a:gd name="connsiteX0" fmla="*/ 1886957 w 4656856"/>
              <a:gd name="connsiteY0" fmla="*/ 0 h 5146350"/>
              <a:gd name="connsiteX1" fmla="*/ 4656856 w 4656856"/>
              <a:gd name="connsiteY1" fmla="*/ 0 h 5146350"/>
              <a:gd name="connsiteX2" fmla="*/ 4656856 w 4656856"/>
              <a:gd name="connsiteY2" fmla="*/ 5143500 h 5146350"/>
              <a:gd name="connsiteX3" fmla="*/ 0 w 4656856"/>
              <a:gd name="connsiteY3" fmla="*/ 5146350 h 5146350"/>
              <a:gd name="connsiteX4" fmla="*/ 1886957 w 4656856"/>
              <a:gd name="connsiteY4" fmla="*/ 0 h 5146350"/>
              <a:gd name="connsiteX0" fmla="*/ 1883782 w 4656856"/>
              <a:gd name="connsiteY0" fmla="*/ 0 h 5149525"/>
              <a:gd name="connsiteX1" fmla="*/ 4656856 w 4656856"/>
              <a:gd name="connsiteY1" fmla="*/ 3175 h 5149525"/>
              <a:gd name="connsiteX2" fmla="*/ 4656856 w 4656856"/>
              <a:gd name="connsiteY2" fmla="*/ 5146675 h 5149525"/>
              <a:gd name="connsiteX3" fmla="*/ 0 w 4656856"/>
              <a:gd name="connsiteY3" fmla="*/ 5149525 h 5149525"/>
              <a:gd name="connsiteX4" fmla="*/ 1883782 w 4656856"/>
              <a:gd name="connsiteY4" fmla="*/ 0 h 5149525"/>
              <a:gd name="connsiteX0" fmla="*/ 1820886 w 4593960"/>
              <a:gd name="connsiteY0" fmla="*/ 0 h 5146675"/>
              <a:gd name="connsiteX1" fmla="*/ 4593960 w 4593960"/>
              <a:gd name="connsiteY1" fmla="*/ 3175 h 5146675"/>
              <a:gd name="connsiteX2" fmla="*/ 4593960 w 4593960"/>
              <a:gd name="connsiteY2" fmla="*/ 5146675 h 5146675"/>
              <a:gd name="connsiteX3" fmla="*/ 0 w 4593960"/>
              <a:gd name="connsiteY3" fmla="*/ 5098725 h 5146675"/>
              <a:gd name="connsiteX4" fmla="*/ 1820886 w 4593960"/>
              <a:gd name="connsiteY4" fmla="*/ 0 h 5146675"/>
              <a:gd name="connsiteX0" fmla="*/ 1886201 w 4659275"/>
              <a:gd name="connsiteY0" fmla="*/ 0 h 5146675"/>
              <a:gd name="connsiteX1" fmla="*/ 4659275 w 4659275"/>
              <a:gd name="connsiteY1" fmla="*/ 3175 h 5146675"/>
              <a:gd name="connsiteX2" fmla="*/ 4659275 w 4659275"/>
              <a:gd name="connsiteY2" fmla="*/ 5146675 h 5146675"/>
              <a:gd name="connsiteX3" fmla="*/ 0 w 4659275"/>
              <a:gd name="connsiteY3" fmla="*/ 5144687 h 5146675"/>
              <a:gd name="connsiteX4" fmla="*/ 1886201 w 4659275"/>
              <a:gd name="connsiteY4" fmla="*/ 0 h 5146675"/>
              <a:gd name="connsiteX0" fmla="*/ 1886201 w 4659275"/>
              <a:gd name="connsiteY0" fmla="*/ 0 h 5144687"/>
              <a:gd name="connsiteX1" fmla="*/ 4659275 w 4659275"/>
              <a:gd name="connsiteY1" fmla="*/ 3175 h 5144687"/>
              <a:gd name="connsiteX2" fmla="*/ 4591542 w 4659275"/>
              <a:gd name="connsiteY2" fmla="*/ 5086199 h 5144687"/>
              <a:gd name="connsiteX3" fmla="*/ 0 w 4659275"/>
              <a:gd name="connsiteY3" fmla="*/ 5144687 h 5144687"/>
              <a:gd name="connsiteX4" fmla="*/ 1886201 w 4659275"/>
              <a:gd name="connsiteY4" fmla="*/ 0 h 5144687"/>
              <a:gd name="connsiteX0" fmla="*/ 1886201 w 4661694"/>
              <a:gd name="connsiteY0" fmla="*/ 0 h 5144687"/>
              <a:gd name="connsiteX1" fmla="*/ 4659275 w 4661694"/>
              <a:gd name="connsiteY1" fmla="*/ 3175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886201 w 4661694"/>
              <a:gd name="connsiteY0" fmla="*/ 0 h 5144687"/>
              <a:gd name="connsiteX1" fmla="*/ 4625408 w 4661694"/>
              <a:gd name="connsiteY1" fmla="*/ 41880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886201 w 4661694"/>
              <a:gd name="connsiteY0" fmla="*/ 0 h 5144687"/>
              <a:gd name="connsiteX1" fmla="*/ 4659275 w 4661694"/>
              <a:gd name="connsiteY1" fmla="*/ 3175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900716 w 4661694"/>
              <a:gd name="connsiteY0" fmla="*/ 37949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900716 w 4661694"/>
              <a:gd name="connsiteY4" fmla="*/ 37949 h 514151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6201 w 4661694"/>
              <a:gd name="connsiteY0" fmla="*/ 1663 h 5143462"/>
              <a:gd name="connsiteX1" fmla="*/ 4659275 w 4661694"/>
              <a:gd name="connsiteY1" fmla="*/ 0 h 5143462"/>
              <a:gd name="connsiteX2" fmla="*/ 4661694 w 4661694"/>
              <a:gd name="connsiteY2" fmla="*/ 5143462 h 5143462"/>
              <a:gd name="connsiteX3" fmla="*/ 0 w 4661694"/>
              <a:gd name="connsiteY3" fmla="*/ 5141512 h 5143462"/>
              <a:gd name="connsiteX4" fmla="*/ 1886201 w 4661694"/>
              <a:gd name="connsiteY4" fmla="*/ 1663 h 514346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0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8582 w 4664075"/>
              <a:gd name="connsiteY0" fmla="*/ 1663 h 5141512"/>
              <a:gd name="connsiteX1" fmla="*/ 4661656 w 4664075"/>
              <a:gd name="connsiteY1" fmla="*/ 0 h 5141512"/>
              <a:gd name="connsiteX2" fmla="*/ 4664075 w 4664075"/>
              <a:gd name="connsiteY2" fmla="*/ 5141080 h 5141512"/>
              <a:gd name="connsiteX3" fmla="*/ 0 w 4664075"/>
              <a:gd name="connsiteY3" fmla="*/ 5141512 h 5141512"/>
              <a:gd name="connsiteX4" fmla="*/ 1888582 w 4664075"/>
              <a:gd name="connsiteY4" fmla="*/ 1663 h 514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4075" h="5141512">
                <a:moveTo>
                  <a:pt x="1888582" y="1663"/>
                </a:moveTo>
                <a:lnTo>
                  <a:pt x="4661656" y="0"/>
                </a:lnTo>
                <a:cubicBezTo>
                  <a:pt x="4662462" y="1713694"/>
                  <a:pt x="4663269" y="3427386"/>
                  <a:pt x="4664075" y="5141080"/>
                </a:cubicBezTo>
                <a:lnTo>
                  <a:pt x="0" y="5141512"/>
                </a:lnTo>
                <a:lnTo>
                  <a:pt x="1888582" y="16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indent="0" algn="r">
              <a:buNone/>
              <a:defRPr sz="10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</p:txBody>
      </p:sp>
      <p:sp>
        <p:nvSpPr>
          <p:cNvPr id="14" name="Прямоугольник 6">
            <a:extLst>
              <a:ext uri="{FF2B5EF4-FFF2-40B4-BE49-F238E27FC236}">
                <a16:creationId xmlns:a16="http://schemas.microsoft.com/office/drawing/2014/main" id="{18BB4E71-69F8-46EE-A45E-22EBDD5B058B}"/>
              </a:ext>
            </a:extLst>
          </p:cNvPr>
          <p:cNvSpPr/>
          <p:nvPr userDrawn="1"/>
        </p:nvSpPr>
        <p:spPr>
          <a:xfrm>
            <a:off x="0" y="-260"/>
            <a:ext cx="6369607" cy="5144660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371493 w 6869152"/>
              <a:gd name="connsiteY2" fmla="*/ 685800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7632391"/>
              <a:gd name="connsiteY0" fmla="*/ 0 h 6869152"/>
              <a:gd name="connsiteX1" fmla="*/ 7632391 w 7632391"/>
              <a:gd name="connsiteY1" fmla="*/ 11151 h 6869152"/>
              <a:gd name="connsiteX2" fmla="*/ 5371493 w 7632391"/>
              <a:gd name="connsiteY2" fmla="*/ 6858002 h 6869152"/>
              <a:gd name="connsiteX3" fmla="*/ 0 w 7632391"/>
              <a:gd name="connsiteY3" fmla="*/ 6869152 h 6869152"/>
              <a:gd name="connsiteX4" fmla="*/ 0 w 7632391"/>
              <a:gd name="connsiteY4" fmla="*/ 0 h 6869152"/>
              <a:gd name="connsiteX0" fmla="*/ 0 w 7629198"/>
              <a:gd name="connsiteY0" fmla="*/ 0 h 6869152"/>
              <a:gd name="connsiteX1" fmla="*/ 7629198 w 7629198"/>
              <a:gd name="connsiteY1" fmla="*/ 21754 h 6869152"/>
              <a:gd name="connsiteX2" fmla="*/ 5371493 w 7629198"/>
              <a:gd name="connsiteY2" fmla="*/ 6858002 h 6869152"/>
              <a:gd name="connsiteX3" fmla="*/ 0 w 7629198"/>
              <a:gd name="connsiteY3" fmla="*/ 6869152 h 6869152"/>
              <a:gd name="connsiteX4" fmla="*/ 0 w 7629198"/>
              <a:gd name="connsiteY4" fmla="*/ 0 h 6869152"/>
              <a:gd name="connsiteX0" fmla="*/ 31928 w 7629198"/>
              <a:gd name="connsiteY0" fmla="*/ 2065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1928 w 7629198"/>
              <a:gd name="connsiteY4" fmla="*/ 20655 h 6847398"/>
              <a:gd name="connsiteX0" fmla="*/ 0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0 w 7629198"/>
              <a:gd name="connsiteY4" fmla="*/ 2985 h 6847398"/>
              <a:gd name="connsiteX0" fmla="*/ 34766 w 7629198"/>
              <a:gd name="connsiteY0" fmla="*/ 31848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4766 w 7629198"/>
              <a:gd name="connsiteY4" fmla="*/ 31848 h 6847398"/>
              <a:gd name="connsiteX0" fmla="*/ 2897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2897 w 7629198"/>
              <a:gd name="connsiteY4" fmla="*/ 2985 h 6847398"/>
              <a:gd name="connsiteX0" fmla="*/ 19 w 7626320"/>
              <a:gd name="connsiteY0" fmla="*/ 2985 h 6836248"/>
              <a:gd name="connsiteX1" fmla="*/ 7626320 w 7626320"/>
              <a:gd name="connsiteY1" fmla="*/ 0 h 6836248"/>
              <a:gd name="connsiteX2" fmla="*/ 5368615 w 7626320"/>
              <a:gd name="connsiteY2" fmla="*/ 6836248 h 6836248"/>
              <a:gd name="connsiteX3" fmla="*/ 34785 w 7626320"/>
              <a:gd name="connsiteY3" fmla="*/ 6786467 h 6836248"/>
              <a:gd name="connsiteX4" fmla="*/ 19 w 7626320"/>
              <a:gd name="connsiteY4" fmla="*/ 2985 h 6836248"/>
              <a:gd name="connsiteX0" fmla="*/ 278 w 7626579"/>
              <a:gd name="connsiteY0" fmla="*/ 2985 h 6836248"/>
              <a:gd name="connsiteX1" fmla="*/ 7626579 w 7626579"/>
              <a:gd name="connsiteY1" fmla="*/ 0 h 6836248"/>
              <a:gd name="connsiteX2" fmla="*/ 5368874 w 7626579"/>
              <a:gd name="connsiteY2" fmla="*/ 6836248 h 6836248"/>
              <a:gd name="connsiteX3" fmla="*/ 278 w 7626579"/>
              <a:gd name="connsiteY3" fmla="*/ 6818536 h 6836248"/>
              <a:gd name="connsiteX4" fmla="*/ 278 w 7626579"/>
              <a:gd name="connsiteY4" fmla="*/ 2985 h 6836248"/>
              <a:gd name="connsiteX0" fmla="*/ 278 w 7626579"/>
              <a:gd name="connsiteY0" fmla="*/ 2985 h 6818536"/>
              <a:gd name="connsiteX1" fmla="*/ 7626579 w 7626579"/>
              <a:gd name="connsiteY1" fmla="*/ 0 h 6818536"/>
              <a:gd name="connsiteX2" fmla="*/ 5368874 w 7626579"/>
              <a:gd name="connsiteY2" fmla="*/ 6817007 h 6818536"/>
              <a:gd name="connsiteX3" fmla="*/ 278 w 7626579"/>
              <a:gd name="connsiteY3" fmla="*/ 6818536 h 6818536"/>
              <a:gd name="connsiteX4" fmla="*/ 278 w 7626579"/>
              <a:gd name="connsiteY4" fmla="*/ 2985 h 681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FF82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85F0E834-2542-DC4A-9103-756397EDB83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  <p:sp>
        <p:nvSpPr>
          <p:cNvPr id="8" name="Заголовок 17">
            <a:extLst>
              <a:ext uri="{FF2B5EF4-FFF2-40B4-BE49-F238E27FC236}">
                <a16:creationId xmlns:a16="http://schemas.microsoft.com/office/drawing/2014/main" id="{CEC4D5E2-FF2B-BC42-9715-CED34D05A1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</p:spTree>
    <p:extLst>
      <p:ext uri="{BB962C8B-B14F-4D97-AF65-F5344CB8AC3E}">
        <p14:creationId xmlns:p14="http://schemas.microsoft.com/office/powerpoint/2010/main" val="3834388817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3">
    <p:bg>
      <p:bgPr>
        <a:solidFill>
          <a:srgbClr val="770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7">
            <a:extLst>
              <a:ext uri="{FF2B5EF4-FFF2-40B4-BE49-F238E27FC236}">
                <a16:creationId xmlns:a16="http://schemas.microsoft.com/office/drawing/2014/main" id="{5DF24D8D-5C2A-42A5-9F06-F7DE93ECDC4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43" y="233097"/>
            <a:ext cx="8185873" cy="2246769"/>
          </a:xfrm>
          <a:prstGeom prst="rect">
            <a:avLst/>
          </a:prstGeom>
        </p:spPr>
        <p:txBody>
          <a:bodyPr lIns="0">
            <a:spAutoFit/>
          </a:bodyPr>
          <a:lstStyle>
            <a:lvl1pPr algn="l">
              <a:defRPr sz="7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название презентации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84732EA3-7D9A-4AED-B22E-01D8EC899CA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43" y="2507489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3977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0119022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4">
    <p:bg>
      <p:bgPr>
        <a:solidFill>
          <a:srgbClr val="001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CA8B788E-4662-C149-9FD0-5D07E6A005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43" y="233097"/>
            <a:ext cx="8185873" cy="2246769"/>
          </a:xfrm>
          <a:prstGeom prst="rect">
            <a:avLst/>
          </a:prstGeom>
        </p:spPr>
        <p:txBody>
          <a:bodyPr lIns="0">
            <a:spAutoFit/>
          </a:bodyPr>
          <a:lstStyle>
            <a:lvl1pPr algn="l">
              <a:defRPr sz="7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название презентации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DF1785AB-A91E-9240-890A-FC4A26A5C5D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43" y="2507489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3977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6008995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5">
    <p:bg>
      <p:bgPr>
        <a:solidFill>
          <a:srgbClr val="65B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E816F5B0-71FA-E24F-97F8-2B47D06EB2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43" y="233097"/>
            <a:ext cx="8185873" cy="2246769"/>
          </a:xfrm>
          <a:prstGeom prst="rect">
            <a:avLst/>
          </a:prstGeom>
        </p:spPr>
        <p:txBody>
          <a:bodyPr lIns="0">
            <a:spAutoFit/>
          </a:bodyPr>
          <a:lstStyle>
            <a:lvl1pPr algn="l">
              <a:defRPr sz="7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название презентации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03C414D-C187-554B-AE68-DD2AA74398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43" y="2507489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3977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8867857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6">
    <p:bg>
      <p:bgPr>
        <a:solidFill>
          <a:srgbClr val="275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A34BDD16-C644-6C4A-968E-7ADE210F40F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43" y="233097"/>
            <a:ext cx="8185873" cy="2246769"/>
          </a:xfrm>
          <a:prstGeom prst="rect">
            <a:avLst/>
          </a:prstGeom>
        </p:spPr>
        <p:txBody>
          <a:bodyPr lIns="0">
            <a:spAutoFit/>
          </a:bodyPr>
          <a:lstStyle>
            <a:lvl1pPr algn="l">
              <a:defRPr sz="7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название презентации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71FBC7B-C5E5-614C-B9A1-1E8E8E7C201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43" y="2507489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3977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9782077"/>
      </p:ext>
    </p:extLst>
  </p:cSld>
  <p:clrMapOvr>
    <a:masterClrMapping/>
  </p:clrMapOvr>
  <p:transition spd="med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7">
    <p:bg>
      <p:bgPr>
        <a:solidFill>
          <a:srgbClr val="273A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CC95E4AA-A3F7-FE41-B1B9-7490A9555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43" y="233097"/>
            <a:ext cx="8185873" cy="2246769"/>
          </a:xfrm>
          <a:prstGeom prst="rect">
            <a:avLst/>
          </a:prstGeom>
        </p:spPr>
        <p:txBody>
          <a:bodyPr lIns="0">
            <a:spAutoFit/>
          </a:bodyPr>
          <a:lstStyle>
            <a:lvl1pPr algn="l">
              <a:defRPr sz="7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название презентации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FD0DFEE-5D13-674E-908E-717F77648E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43" y="2507489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3977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170622"/>
      </p:ext>
    </p:extLst>
  </p:cSld>
  <p:clrMapOvr>
    <a:masterClrMapping/>
  </p:clrMapOvr>
  <p:transition spd="med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18">
    <p:bg>
      <p:bgPr>
        <a:solidFill>
          <a:srgbClr val="FF821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CC95E4AA-A3F7-FE41-B1B9-7490A9555F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9243" y="233097"/>
            <a:ext cx="8185873" cy="2246769"/>
          </a:xfrm>
          <a:prstGeom prst="rect">
            <a:avLst/>
          </a:prstGeom>
        </p:spPr>
        <p:txBody>
          <a:bodyPr lIns="0">
            <a:spAutoFit/>
          </a:bodyPr>
          <a:lstStyle>
            <a:lvl1pPr algn="l">
              <a:defRPr sz="7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название презентации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FD0DFEE-5D13-674E-908E-717F77648E8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49243" y="2507489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3977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5612268"/>
      </p:ext>
    </p:extLst>
  </p:cSld>
  <p:clrMapOvr>
    <a:masterClrMapping/>
  </p:clrMapOvr>
  <p:transition spd="med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-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050" y="-19050"/>
            <a:ext cx="9191626" cy="5162550"/>
          </a:xfrm>
          <a:prstGeom prst="rect">
            <a:avLst/>
          </a:prstGeom>
        </p:spPr>
      </p:pic>
      <p:sp>
        <p:nvSpPr>
          <p:cNvPr id="6" name="Заголовок 17">
            <a:extLst>
              <a:ext uri="{FF2B5EF4-FFF2-40B4-BE49-F238E27FC236}">
                <a16:creationId xmlns:a16="http://schemas.microsoft.com/office/drawing/2014/main" id="{2F1F454A-7F19-7347-B0CC-E09197AE40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8600FF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10" name="Текст 13">
            <a:extLst>
              <a:ext uri="{FF2B5EF4-FFF2-40B4-BE49-F238E27FC236}">
                <a16:creationId xmlns:a16="http://schemas.microsoft.com/office/drawing/2014/main" id="{66049484-BFDD-A842-A9B2-44DEF3D050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04942"/>
            <a:ext cx="1702841" cy="338554"/>
          </a:xfrm>
          <a:prstGeom prst="rect">
            <a:avLst/>
          </a:prstGeom>
          <a:solidFill>
            <a:srgbClr val="8600FF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2631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2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9184933" cy="5149272"/>
          </a:xfrm>
          <a:prstGeom prst="rect">
            <a:avLst/>
          </a:prstGeom>
        </p:spPr>
      </p:pic>
      <p:sp>
        <p:nvSpPr>
          <p:cNvPr id="11" name="Прямоугольник 6">
            <a:extLst>
              <a:ext uri="{FF2B5EF4-FFF2-40B4-BE49-F238E27FC236}">
                <a16:creationId xmlns:a16="http://schemas.microsoft.com/office/drawing/2014/main" id="{4CF3D02A-AF50-4BAC-B3BA-DB6BA1BFBD8C}"/>
              </a:ext>
            </a:extLst>
          </p:cNvPr>
          <p:cNvSpPr/>
          <p:nvPr userDrawn="1"/>
        </p:nvSpPr>
        <p:spPr>
          <a:xfrm>
            <a:off x="0" y="11976"/>
            <a:ext cx="6368069" cy="5143418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371493 w 6869152"/>
              <a:gd name="connsiteY2" fmla="*/ 685800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7632391"/>
              <a:gd name="connsiteY0" fmla="*/ 0 h 6869152"/>
              <a:gd name="connsiteX1" fmla="*/ 7632391 w 7632391"/>
              <a:gd name="connsiteY1" fmla="*/ 11151 h 6869152"/>
              <a:gd name="connsiteX2" fmla="*/ 5371493 w 7632391"/>
              <a:gd name="connsiteY2" fmla="*/ 6858002 h 6869152"/>
              <a:gd name="connsiteX3" fmla="*/ 0 w 7632391"/>
              <a:gd name="connsiteY3" fmla="*/ 6869152 h 6869152"/>
              <a:gd name="connsiteX4" fmla="*/ 0 w 7632391"/>
              <a:gd name="connsiteY4" fmla="*/ 0 h 6869152"/>
              <a:gd name="connsiteX0" fmla="*/ 0 w 7629198"/>
              <a:gd name="connsiteY0" fmla="*/ 0 h 6869152"/>
              <a:gd name="connsiteX1" fmla="*/ 7629198 w 7629198"/>
              <a:gd name="connsiteY1" fmla="*/ 21754 h 6869152"/>
              <a:gd name="connsiteX2" fmla="*/ 5371493 w 7629198"/>
              <a:gd name="connsiteY2" fmla="*/ 6858002 h 6869152"/>
              <a:gd name="connsiteX3" fmla="*/ 0 w 7629198"/>
              <a:gd name="connsiteY3" fmla="*/ 6869152 h 6869152"/>
              <a:gd name="connsiteX4" fmla="*/ 0 w 7629198"/>
              <a:gd name="connsiteY4" fmla="*/ 0 h 6869152"/>
              <a:gd name="connsiteX0" fmla="*/ 31928 w 7629198"/>
              <a:gd name="connsiteY0" fmla="*/ 2065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1928 w 7629198"/>
              <a:gd name="connsiteY4" fmla="*/ 20655 h 6847398"/>
              <a:gd name="connsiteX0" fmla="*/ 0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0 w 7629198"/>
              <a:gd name="connsiteY4" fmla="*/ 2985 h 6847398"/>
              <a:gd name="connsiteX0" fmla="*/ 34766 w 7629198"/>
              <a:gd name="connsiteY0" fmla="*/ 31848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4766 w 7629198"/>
              <a:gd name="connsiteY4" fmla="*/ 31848 h 6847398"/>
              <a:gd name="connsiteX0" fmla="*/ 2897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2897 w 7629198"/>
              <a:gd name="connsiteY4" fmla="*/ 2985 h 6847398"/>
              <a:gd name="connsiteX0" fmla="*/ 19 w 7626320"/>
              <a:gd name="connsiteY0" fmla="*/ 2985 h 6836248"/>
              <a:gd name="connsiteX1" fmla="*/ 7626320 w 7626320"/>
              <a:gd name="connsiteY1" fmla="*/ 0 h 6836248"/>
              <a:gd name="connsiteX2" fmla="*/ 5368615 w 7626320"/>
              <a:gd name="connsiteY2" fmla="*/ 6836248 h 6836248"/>
              <a:gd name="connsiteX3" fmla="*/ 34785 w 7626320"/>
              <a:gd name="connsiteY3" fmla="*/ 6786467 h 6836248"/>
              <a:gd name="connsiteX4" fmla="*/ 19 w 7626320"/>
              <a:gd name="connsiteY4" fmla="*/ 2985 h 6836248"/>
              <a:gd name="connsiteX0" fmla="*/ 278 w 7626579"/>
              <a:gd name="connsiteY0" fmla="*/ 2985 h 6836248"/>
              <a:gd name="connsiteX1" fmla="*/ 7626579 w 7626579"/>
              <a:gd name="connsiteY1" fmla="*/ 0 h 6836248"/>
              <a:gd name="connsiteX2" fmla="*/ 5368874 w 7626579"/>
              <a:gd name="connsiteY2" fmla="*/ 6836248 h 6836248"/>
              <a:gd name="connsiteX3" fmla="*/ 278 w 7626579"/>
              <a:gd name="connsiteY3" fmla="*/ 6818536 h 6836248"/>
              <a:gd name="connsiteX4" fmla="*/ 278 w 7626579"/>
              <a:gd name="connsiteY4" fmla="*/ 2985 h 6836248"/>
              <a:gd name="connsiteX0" fmla="*/ 278 w 7626579"/>
              <a:gd name="connsiteY0" fmla="*/ 2985 h 6818536"/>
              <a:gd name="connsiteX1" fmla="*/ 7626579 w 7626579"/>
              <a:gd name="connsiteY1" fmla="*/ 0 h 6818536"/>
              <a:gd name="connsiteX2" fmla="*/ 5368874 w 7626579"/>
              <a:gd name="connsiteY2" fmla="*/ 6817007 h 6818536"/>
              <a:gd name="connsiteX3" fmla="*/ 278 w 7626579"/>
              <a:gd name="connsiteY3" fmla="*/ 6818536 h 6818536"/>
              <a:gd name="connsiteX4" fmla="*/ 278 w 7626579"/>
              <a:gd name="connsiteY4" fmla="*/ 2985 h 681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001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7449E508-9816-4CBE-AE42-475D8AA060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B30F1-71AC-483A-82D4-FC45AA9955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6947032"/>
      </p:ext>
    </p:extLst>
  </p:cSld>
  <p:clrMapOvr>
    <a:masterClrMapping/>
  </p:clrMapOvr>
  <p:transition spd="med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44B064-529F-4740-B8CD-D334B71EA9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5104" y="845821"/>
            <a:ext cx="5145584" cy="3451859"/>
          </a:xfrm>
          <a:prstGeom prst="rect">
            <a:avLst/>
          </a:prstGeom>
        </p:spPr>
        <p:txBody>
          <a:bodyPr lIns="0" tIns="90000" anchor="ctr">
            <a:noAutofit/>
          </a:bodyPr>
          <a:lstStyle>
            <a:lvl1pPr marL="0" indent="0">
              <a:lnSpc>
                <a:spcPct val="130000"/>
              </a:lnSpc>
              <a:buNone/>
              <a:defRPr sz="1200" b="0" i="0" baseline="0">
                <a:latin typeface="Rostelecom Basis" panose="020B0503030604040103" pitchFamily="34" charset="0"/>
              </a:defRPr>
            </a:lvl1pPr>
          </a:lstStyle>
          <a:p>
            <a:r>
              <a:rPr lang="ru-RU" dirty="0"/>
              <a:t>«Ростелеком-Солар», компания группы ПАО «Ростелеком» – Национальный провайдер сервисов и технологий для защиты информационных активов, целевого мониторинга и управления информационной безопасностью</a:t>
            </a:r>
          </a:p>
          <a:p>
            <a:r>
              <a:rPr lang="ru-RU" dirty="0"/>
              <a:t>В основе наших технологий лежит понимание, что настоящая информационная безопасность возможна только через непрерывный мониторинг и удобное управление системами ИБ. Этот принцип реализован в продуктах и сервисах «Ростелеком-Солар»</a:t>
            </a:r>
          </a:p>
        </p:txBody>
      </p:sp>
      <p:sp>
        <p:nvSpPr>
          <p:cNvPr id="9" name="Заголовок 17">
            <a:extLst>
              <a:ext uri="{FF2B5EF4-FFF2-40B4-BE49-F238E27FC236}">
                <a16:creationId xmlns:a16="http://schemas.microsoft.com/office/drawing/2014/main" id="{4D92EA3A-AE39-4D4D-B069-0A43DE46DC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482652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21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6565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">
    <p:bg>
      <p:bgPr>
        <a:solidFill>
          <a:srgbClr val="860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4566C180-0A4D-BC4D-B302-834B2F33C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65BBE9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18D2836E-ABEE-4F4C-9E3D-E74919CCE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65BBE9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15764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2">
    <p:bg>
      <p:bgPr>
        <a:solidFill>
          <a:srgbClr val="860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4566C180-0A4D-BC4D-B302-834B2F33C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FF8218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18D2836E-ABEE-4F4C-9E3D-E74919CCE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FF8218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57347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3">
    <p:bg>
      <p:bgPr>
        <a:solidFill>
          <a:srgbClr val="860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4566C180-0A4D-BC4D-B302-834B2F33C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001C45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18D2836E-ABEE-4F4C-9E3D-E74919CCE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001C45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2996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4">
    <p:bg>
      <p:bgPr>
        <a:solidFill>
          <a:srgbClr val="860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4566C180-0A4D-BC4D-B302-834B2F33C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273A64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18D2836E-ABEE-4F4C-9E3D-E74919CCE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273A64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018389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5">
    <p:bg>
      <p:bgPr>
        <a:solidFill>
          <a:srgbClr val="860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4566C180-0A4D-BC4D-B302-834B2F33C6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chemeClr val="bg1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8" name="Текст 13">
            <a:extLst>
              <a:ext uri="{FF2B5EF4-FFF2-40B4-BE49-F238E27FC236}">
                <a16:creationId xmlns:a16="http://schemas.microsoft.com/office/drawing/2014/main" id="{18D2836E-ABEE-4F4C-9E3D-E74919CCEB8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chemeClr val="bg1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3184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6">
    <p:bg>
      <p:bgPr>
        <a:solidFill>
          <a:srgbClr val="001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276A4F3D-5A35-3441-A8D8-470DC51D7D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65040"/>
            <a:ext cx="4996878" cy="646331"/>
          </a:xfrm>
          <a:prstGeom prst="rect">
            <a:avLst/>
          </a:prstGeom>
          <a:solidFill>
            <a:srgbClr val="8600FF"/>
          </a:solidFill>
        </p:spPr>
        <p:txBody>
          <a:bodyPr lIns="54000" anchor="ctr">
            <a:noAutofit/>
          </a:bodyPr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1920BFCE-1AE5-0B48-BC0D-3EDF8C6E47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8600FF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37661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7">
    <p:bg>
      <p:bgPr>
        <a:solidFill>
          <a:srgbClr val="001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276A4F3D-5A35-3441-A8D8-470DC51D7D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275392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1920BFCE-1AE5-0B48-BC0D-3EDF8C6E47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275392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31299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8">
    <p:bg>
      <p:bgPr>
        <a:solidFill>
          <a:srgbClr val="001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276A4F3D-5A35-3441-A8D8-470DC51D7D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65BBE9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1920BFCE-1AE5-0B48-BC0D-3EDF8C6E47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65BBE9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2009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3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5324" y="-260"/>
            <a:ext cx="7713229" cy="5143760"/>
          </a:xfrm>
          <a:prstGeom prst="rect">
            <a:avLst/>
          </a:prstGeom>
        </p:spPr>
      </p:pic>
      <p:sp>
        <p:nvSpPr>
          <p:cNvPr id="11" name="Прямоугольник 6">
            <a:extLst>
              <a:ext uri="{FF2B5EF4-FFF2-40B4-BE49-F238E27FC236}">
                <a16:creationId xmlns:a16="http://schemas.microsoft.com/office/drawing/2014/main" id="{4CF3D02A-AF50-4BAC-B3BA-DB6BA1BFBD8C}"/>
              </a:ext>
            </a:extLst>
          </p:cNvPr>
          <p:cNvSpPr/>
          <p:nvPr userDrawn="1"/>
        </p:nvSpPr>
        <p:spPr>
          <a:xfrm>
            <a:off x="0" y="-260"/>
            <a:ext cx="6368069" cy="5143760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371493 w 6869152"/>
              <a:gd name="connsiteY2" fmla="*/ 685800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7632391"/>
              <a:gd name="connsiteY0" fmla="*/ 0 h 6869152"/>
              <a:gd name="connsiteX1" fmla="*/ 7632391 w 7632391"/>
              <a:gd name="connsiteY1" fmla="*/ 11151 h 6869152"/>
              <a:gd name="connsiteX2" fmla="*/ 5371493 w 7632391"/>
              <a:gd name="connsiteY2" fmla="*/ 6858002 h 6869152"/>
              <a:gd name="connsiteX3" fmla="*/ 0 w 7632391"/>
              <a:gd name="connsiteY3" fmla="*/ 6869152 h 6869152"/>
              <a:gd name="connsiteX4" fmla="*/ 0 w 7632391"/>
              <a:gd name="connsiteY4" fmla="*/ 0 h 6869152"/>
              <a:gd name="connsiteX0" fmla="*/ 0 w 7629198"/>
              <a:gd name="connsiteY0" fmla="*/ 0 h 6869152"/>
              <a:gd name="connsiteX1" fmla="*/ 7629198 w 7629198"/>
              <a:gd name="connsiteY1" fmla="*/ 21754 h 6869152"/>
              <a:gd name="connsiteX2" fmla="*/ 5371493 w 7629198"/>
              <a:gd name="connsiteY2" fmla="*/ 6858002 h 6869152"/>
              <a:gd name="connsiteX3" fmla="*/ 0 w 7629198"/>
              <a:gd name="connsiteY3" fmla="*/ 6869152 h 6869152"/>
              <a:gd name="connsiteX4" fmla="*/ 0 w 7629198"/>
              <a:gd name="connsiteY4" fmla="*/ 0 h 6869152"/>
              <a:gd name="connsiteX0" fmla="*/ 31928 w 7629198"/>
              <a:gd name="connsiteY0" fmla="*/ 2065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1928 w 7629198"/>
              <a:gd name="connsiteY4" fmla="*/ 20655 h 6847398"/>
              <a:gd name="connsiteX0" fmla="*/ 0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0 w 7629198"/>
              <a:gd name="connsiteY4" fmla="*/ 2985 h 6847398"/>
              <a:gd name="connsiteX0" fmla="*/ 34766 w 7629198"/>
              <a:gd name="connsiteY0" fmla="*/ 31848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4766 w 7629198"/>
              <a:gd name="connsiteY4" fmla="*/ 31848 h 6847398"/>
              <a:gd name="connsiteX0" fmla="*/ 2897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2897 w 7629198"/>
              <a:gd name="connsiteY4" fmla="*/ 2985 h 6847398"/>
              <a:gd name="connsiteX0" fmla="*/ 19 w 7626320"/>
              <a:gd name="connsiteY0" fmla="*/ 2985 h 6836248"/>
              <a:gd name="connsiteX1" fmla="*/ 7626320 w 7626320"/>
              <a:gd name="connsiteY1" fmla="*/ 0 h 6836248"/>
              <a:gd name="connsiteX2" fmla="*/ 5368615 w 7626320"/>
              <a:gd name="connsiteY2" fmla="*/ 6836248 h 6836248"/>
              <a:gd name="connsiteX3" fmla="*/ 34785 w 7626320"/>
              <a:gd name="connsiteY3" fmla="*/ 6786467 h 6836248"/>
              <a:gd name="connsiteX4" fmla="*/ 19 w 7626320"/>
              <a:gd name="connsiteY4" fmla="*/ 2985 h 6836248"/>
              <a:gd name="connsiteX0" fmla="*/ 278 w 7626579"/>
              <a:gd name="connsiteY0" fmla="*/ 2985 h 6836248"/>
              <a:gd name="connsiteX1" fmla="*/ 7626579 w 7626579"/>
              <a:gd name="connsiteY1" fmla="*/ 0 h 6836248"/>
              <a:gd name="connsiteX2" fmla="*/ 5368874 w 7626579"/>
              <a:gd name="connsiteY2" fmla="*/ 6836248 h 6836248"/>
              <a:gd name="connsiteX3" fmla="*/ 278 w 7626579"/>
              <a:gd name="connsiteY3" fmla="*/ 6818536 h 6836248"/>
              <a:gd name="connsiteX4" fmla="*/ 278 w 7626579"/>
              <a:gd name="connsiteY4" fmla="*/ 2985 h 6836248"/>
              <a:gd name="connsiteX0" fmla="*/ 278 w 7626579"/>
              <a:gd name="connsiteY0" fmla="*/ 2985 h 6818536"/>
              <a:gd name="connsiteX1" fmla="*/ 7626579 w 7626579"/>
              <a:gd name="connsiteY1" fmla="*/ 0 h 6818536"/>
              <a:gd name="connsiteX2" fmla="*/ 5368874 w 7626579"/>
              <a:gd name="connsiteY2" fmla="*/ 6817007 h 6818536"/>
              <a:gd name="connsiteX3" fmla="*/ 278 w 7626579"/>
              <a:gd name="connsiteY3" fmla="*/ 6818536 h 6818536"/>
              <a:gd name="connsiteX4" fmla="*/ 278 w 7626579"/>
              <a:gd name="connsiteY4" fmla="*/ 2985 h 681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001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7449E508-9816-4CBE-AE42-475D8AA060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B30F1-71AC-483A-82D4-FC45AA9955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5585119"/>
      </p:ext>
    </p:extLst>
  </p:cSld>
  <p:clrMapOvr>
    <a:masterClrMapping/>
  </p:clrMapOvr>
  <p:transition spd="med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9">
    <p:bg>
      <p:bgPr>
        <a:solidFill>
          <a:srgbClr val="001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276A4F3D-5A35-3441-A8D8-470DC51D7D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FF8218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1920BFCE-1AE5-0B48-BC0D-3EDF8C6E47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FF8218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905303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0">
    <p:bg>
      <p:bgPr>
        <a:solidFill>
          <a:srgbClr val="001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276A4F3D-5A35-3441-A8D8-470DC51D7D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979799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1920BFCE-1AE5-0B48-BC0D-3EDF8C6E47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979799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18565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1">
    <p:bg>
      <p:bgPr>
        <a:solidFill>
          <a:srgbClr val="001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276A4F3D-5A35-3441-A8D8-470DC51D7D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chemeClr val="bg1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1920BFCE-1AE5-0B48-BC0D-3EDF8C6E47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chemeClr val="bg1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138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2">
    <p:bg>
      <p:bgPr>
        <a:solidFill>
          <a:srgbClr val="275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C49D8234-ECA5-DA48-B6EC-48D54BE27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FF8218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A130E779-4172-2844-B6BE-B7CB40189A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FF8218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055481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3">
    <p:bg>
      <p:bgPr>
        <a:solidFill>
          <a:srgbClr val="275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C49D8234-ECA5-DA48-B6EC-48D54BE27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979799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A130E779-4172-2844-B6BE-B7CB40189A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979799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9562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4">
    <p:bg>
      <p:bgPr>
        <a:solidFill>
          <a:srgbClr val="275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C49D8234-ECA5-DA48-B6EC-48D54BE27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65BBE9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A130E779-4172-2844-B6BE-B7CB40189A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65BBE9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85824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5">
    <p:bg>
      <p:bgPr>
        <a:solidFill>
          <a:srgbClr val="275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C49D8234-ECA5-DA48-B6EC-48D54BE27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001C45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A130E779-4172-2844-B6BE-B7CB40189A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001C45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25632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6">
    <p:bg>
      <p:bgPr>
        <a:solidFill>
          <a:srgbClr val="275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C49D8234-ECA5-DA48-B6EC-48D54BE274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FEFEFE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A130E779-4172-2844-B6BE-B7CB40189A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FEFEFE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8800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7">
    <p:bg>
      <p:bgPr>
        <a:solidFill>
          <a:srgbClr val="65B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8A1CBB54-4883-624C-8058-B2064EDC65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FF8218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25F98907-E68A-0445-8B43-6950C8ED23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FF8218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9615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8">
    <p:bg>
      <p:bgPr>
        <a:solidFill>
          <a:srgbClr val="65B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8A1CBB54-4883-624C-8058-B2064EDC65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8600FF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25F98907-E68A-0445-8B43-6950C8ED23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8600FF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88259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4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"/>
            <a:ext cx="9144000" cy="5143501"/>
          </a:xfrm>
          <a:prstGeom prst="rect">
            <a:avLst/>
          </a:prstGeom>
          <a:noFill/>
        </p:spPr>
      </p:pic>
      <p:sp>
        <p:nvSpPr>
          <p:cNvPr id="4" name="Прямоугольник 3"/>
          <p:cNvSpPr/>
          <p:nvPr userDrawn="1"/>
        </p:nvSpPr>
        <p:spPr>
          <a:xfrm>
            <a:off x="0" y="-2"/>
            <a:ext cx="9144000" cy="5143501"/>
          </a:xfrm>
          <a:prstGeom prst="rect">
            <a:avLst/>
          </a:prstGeom>
          <a:gradFill>
            <a:gsLst>
              <a:gs pos="53000">
                <a:schemeClr val="tx1">
                  <a:alpha val="58000"/>
                  <a:lumMod val="92000"/>
                  <a:lumOff val="8000"/>
                </a:schemeClr>
              </a:gs>
              <a:gs pos="0">
                <a:schemeClr val="bg1">
                  <a:alpha val="0"/>
                </a:schemeClr>
              </a:gs>
            </a:gsLst>
            <a:lin ang="10800000" scaled="1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7449E508-9816-4CBE-AE42-475D8AA060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B30F1-71AC-483A-82D4-FC45AA9955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4109663"/>
      </p:ext>
    </p:extLst>
  </p:cSld>
  <p:clrMapOvr>
    <a:masterClrMapping/>
  </p:clrMapOvr>
  <p:transition spd="med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9">
    <p:bg>
      <p:bgPr>
        <a:solidFill>
          <a:srgbClr val="65B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8A1CBB54-4883-624C-8058-B2064EDC653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001C45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25F98907-E68A-0445-8B43-6950C8ED233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001C45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690857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75AED8DF-49D6-402F-85EF-26DAEB2F7F6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0000" tIns="46800" rIns="90000" bIns="0" anchor="b" anchorCtr="1"/>
          <a:lstStyle>
            <a:lvl1pPr marL="0" marR="0" indent="0" algn="ctr" defTabSz="309563" eaLnBrk="1" fontAlgn="auto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000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6" name="Заголовок 17">
            <a:extLst>
              <a:ext uri="{FF2B5EF4-FFF2-40B4-BE49-F238E27FC236}">
                <a16:creationId xmlns:a16="http://schemas.microsoft.com/office/drawing/2014/main" id="{2F1F454A-7F19-7347-B0CC-E09197AE40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8600FF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10" name="Текст 13">
            <a:extLst>
              <a:ext uri="{FF2B5EF4-FFF2-40B4-BE49-F238E27FC236}">
                <a16:creationId xmlns:a16="http://schemas.microsoft.com/office/drawing/2014/main" id="{66049484-BFDD-A842-A9B2-44DEF3D050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8600FF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842993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050" y="-19050"/>
            <a:ext cx="9191626" cy="5162550"/>
          </a:xfrm>
          <a:prstGeom prst="rect">
            <a:avLst/>
          </a:prstGeom>
        </p:spPr>
      </p:pic>
      <p:sp>
        <p:nvSpPr>
          <p:cNvPr id="6" name="Заголовок 17">
            <a:extLst>
              <a:ext uri="{FF2B5EF4-FFF2-40B4-BE49-F238E27FC236}">
                <a16:creationId xmlns:a16="http://schemas.microsoft.com/office/drawing/2014/main" id="{2F1F454A-7F19-7347-B0CC-E09197AE40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8600FF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10" name="Текст 13">
            <a:extLst>
              <a:ext uri="{FF2B5EF4-FFF2-40B4-BE49-F238E27FC236}">
                <a16:creationId xmlns:a16="http://schemas.microsoft.com/office/drawing/2014/main" id="{66049484-BFDD-A842-A9B2-44DEF3D050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8600FF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84086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" y="176"/>
            <a:ext cx="9143374" cy="5143148"/>
          </a:xfrm>
          <a:prstGeom prst="rect">
            <a:avLst/>
          </a:prstGeom>
        </p:spPr>
      </p:pic>
      <p:sp>
        <p:nvSpPr>
          <p:cNvPr id="6" name="Заголовок 17">
            <a:extLst>
              <a:ext uri="{FF2B5EF4-FFF2-40B4-BE49-F238E27FC236}">
                <a16:creationId xmlns:a16="http://schemas.microsoft.com/office/drawing/2014/main" id="{2F1F454A-7F19-7347-B0CC-E09197AE40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480" y="934263"/>
            <a:ext cx="4996878" cy="707886"/>
          </a:xfrm>
          <a:prstGeom prst="rect">
            <a:avLst/>
          </a:prstGeom>
          <a:solidFill>
            <a:srgbClr val="8600FF"/>
          </a:solidFill>
        </p:spPr>
        <p:txBody>
          <a:bodyPr lIns="54000" anchor="ctr"/>
          <a:lstStyle>
            <a:lvl1pPr algn="l">
              <a:defRPr sz="40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Введите заголовок</a:t>
            </a:r>
            <a:r>
              <a:rPr lang="en-US" dirty="0"/>
              <a:t>  </a:t>
            </a:r>
            <a:endParaRPr lang="ru-RU" dirty="0"/>
          </a:p>
        </p:txBody>
      </p:sp>
      <p:sp>
        <p:nvSpPr>
          <p:cNvPr id="10" name="Текст 13">
            <a:extLst>
              <a:ext uri="{FF2B5EF4-FFF2-40B4-BE49-F238E27FC236}">
                <a16:creationId xmlns:a16="http://schemas.microsoft.com/office/drawing/2014/main" id="{66049484-BFDD-A842-A9B2-44DEF3D050B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614175"/>
            <a:ext cx="1702841" cy="320088"/>
          </a:xfrm>
          <a:prstGeom prst="rect">
            <a:avLst/>
          </a:prstGeom>
          <a:solidFill>
            <a:srgbClr val="8600FF"/>
          </a:solidFill>
        </p:spPr>
        <p:txBody>
          <a:bodyPr wrap="square" lIns="72000" anchor="ctr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Подзаголовок 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964561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>
                <a:solidFill>
                  <a:prstClr val="black">
                    <a:tint val="75000"/>
                  </a:prstClr>
                </a:solidFill>
              </a:rPr>
              <a:pPr/>
              <a:t>2/21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6480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1">
    <p:bg>
      <p:bgPr>
        <a:solidFill>
          <a:srgbClr val="001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Текст 13">
            <a:extLst>
              <a:ext uri="{FF2B5EF4-FFF2-40B4-BE49-F238E27FC236}">
                <a16:creationId xmlns:a16="http://schemas.microsoft.com/office/drawing/2014/main" id="{39F39420-D8DC-754B-9143-295A29D6057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1719557"/>
            <a:ext cx="4893081" cy="707886"/>
          </a:xfrm>
          <a:prstGeom prst="rect">
            <a:avLst/>
          </a:prstGeom>
          <a:solidFill>
            <a:srgbClr val="65BBE9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или цитату</a:t>
            </a:r>
          </a:p>
        </p:txBody>
      </p:sp>
      <p:sp>
        <p:nvSpPr>
          <p:cNvPr id="6" name="Текст 13">
            <a:extLst>
              <a:ext uri="{FF2B5EF4-FFF2-40B4-BE49-F238E27FC236}">
                <a16:creationId xmlns:a16="http://schemas.microsoft.com/office/drawing/2014/main" id="{DC316CD6-A01B-D24C-A53E-B4D85828A24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9479" y="1015465"/>
            <a:ext cx="5558952" cy="707886"/>
          </a:xfrm>
          <a:prstGeom prst="rect">
            <a:avLst/>
          </a:prstGeom>
          <a:solidFill>
            <a:srgbClr val="65BBE9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Добавьте тезис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9605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2">
    <p:bg>
      <p:bgPr>
        <a:solidFill>
          <a:srgbClr val="275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13">
            <a:extLst>
              <a:ext uri="{FF2B5EF4-FFF2-40B4-BE49-F238E27FC236}">
                <a16:creationId xmlns:a16="http://schemas.microsoft.com/office/drawing/2014/main" id="{AE0FEE89-5861-CA47-9CDD-F1983CD3139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1719557"/>
            <a:ext cx="4893081" cy="707886"/>
          </a:xfrm>
          <a:prstGeom prst="rect">
            <a:avLst/>
          </a:prstGeom>
          <a:solidFill>
            <a:srgbClr val="FF8218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или цитату</a:t>
            </a:r>
          </a:p>
        </p:txBody>
      </p:sp>
      <p:sp>
        <p:nvSpPr>
          <p:cNvPr id="9" name="Текст 13">
            <a:extLst>
              <a:ext uri="{FF2B5EF4-FFF2-40B4-BE49-F238E27FC236}">
                <a16:creationId xmlns:a16="http://schemas.microsoft.com/office/drawing/2014/main" id="{3A6D1F0A-1E4D-7D49-82B2-EE7D3C949A4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9479" y="1015465"/>
            <a:ext cx="5558952" cy="707886"/>
          </a:xfrm>
          <a:prstGeom prst="rect">
            <a:avLst/>
          </a:prstGeom>
          <a:solidFill>
            <a:srgbClr val="FF8218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Добавьте тезис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932733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3">
    <p:bg>
      <p:bgPr>
        <a:solidFill>
          <a:srgbClr val="273A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Текст 13">
            <a:extLst>
              <a:ext uri="{FF2B5EF4-FFF2-40B4-BE49-F238E27FC236}">
                <a16:creationId xmlns:a16="http://schemas.microsoft.com/office/drawing/2014/main" id="{BBC2481A-3D46-3E4B-A8C8-43FE48BCDB5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1719557"/>
            <a:ext cx="4893081" cy="707886"/>
          </a:xfrm>
          <a:prstGeom prst="rect">
            <a:avLst/>
          </a:prstGeom>
          <a:solidFill>
            <a:srgbClr val="8600FF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или цитату</a:t>
            </a:r>
          </a:p>
        </p:txBody>
      </p:sp>
      <p:sp>
        <p:nvSpPr>
          <p:cNvPr id="11" name="Текст 13">
            <a:extLst>
              <a:ext uri="{FF2B5EF4-FFF2-40B4-BE49-F238E27FC236}">
                <a16:creationId xmlns:a16="http://schemas.microsoft.com/office/drawing/2014/main" id="{F62473E5-88D7-2241-AEC0-05C556573E6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9479" y="1015465"/>
            <a:ext cx="5558952" cy="707886"/>
          </a:xfrm>
          <a:prstGeom prst="rect">
            <a:avLst/>
          </a:prstGeom>
          <a:solidFill>
            <a:srgbClr val="8600FF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Добавьте тезис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809096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4">
    <p:bg>
      <p:bgPr>
        <a:solidFill>
          <a:srgbClr val="275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13">
            <a:extLst>
              <a:ext uri="{FF2B5EF4-FFF2-40B4-BE49-F238E27FC236}">
                <a16:creationId xmlns:a16="http://schemas.microsoft.com/office/drawing/2014/main" id="{02922D7C-4045-6F42-8CFA-2FB2EB71FBC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1719557"/>
            <a:ext cx="4893081" cy="707886"/>
          </a:xfrm>
          <a:prstGeom prst="rect">
            <a:avLst/>
          </a:prstGeom>
          <a:solidFill>
            <a:srgbClr val="FEFEFE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или цитату</a:t>
            </a:r>
          </a:p>
        </p:txBody>
      </p:sp>
      <p:sp>
        <p:nvSpPr>
          <p:cNvPr id="9" name="Текст 13">
            <a:extLst>
              <a:ext uri="{FF2B5EF4-FFF2-40B4-BE49-F238E27FC236}">
                <a16:creationId xmlns:a16="http://schemas.microsoft.com/office/drawing/2014/main" id="{01AB3E0F-1A42-FC4E-800E-CD9DA8505B2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9479" y="1015465"/>
            <a:ext cx="5558952" cy="707886"/>
          </a:xfrm>
          <a:prstGeom prst="rect">
            <a:avLst/>
          </a:prstGeom>
          <a:solidFill>
            <a:srgbClr val="FEFEFE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Добавьте тезис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10796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17E98B6B-359D-479D-8605-F984C751B1D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90000" tIns="46800" rIns="90000" bIns="0" anchor="b" anchorCtr="1"/>
          <a:lstStyle>
            <a:lvl1pPr marL="0" marR="0" indent="0" algn="ctr" defTabSz="309563" eaLnBrk="1" fontAlgn="auto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7" name="Текст 13">
            <a:extLst>
              <a:ext uri="{FF2B5EF4-FFF2-40B4-BE49-F238E27FC236}">
                <a16:creationId xmlns:a16="http://schemas.microsoft.com/office/drawing/2014/main" id="{BA9F7BB9-31D6-CE4F-BED3-F0625BF6905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1719557"/>
            <a:ext cx="4893081" cy="707886"/>
          </a:xfrm>
          <a:prstGeom prst="rect">
            <a:avLst/>
          </a:prstGeom>
          <a:solidFill>
            <a:srgbClr val="FF8218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или цитату</a:t>
            </a:r>
          </a:p>
        </p:txBody>
      </p:sp>
      <p:sp>
        <p:nvSpPr>
          <p:cNvPr id="9" name="Текст 13">
            <a:extLst>
              <a:ext uri="{FF2B5EF4-FFF2-40B4-BE49-F238E27FC236}">
                <a16:creationId xmlns:a16="http://schemas.microsoft.com/office/drawing/2014/main" id="{BF15F118-A242-1C45-B8CC-7349A2EB4EC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9479" y="1015465"/>
            <a:ext cx="5558952" cy="707886"/>
          </a:xfrm>
          <a:prstGeom prst="rect">
            <a:avLst/>
          </a:prstGeom>
          <a:solidFill>
            <a:srgbClr val="FF8218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Добавьте тезис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3812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5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58199" cy="5153025"/>
          </a:xfrm>
          <a:prstGeom prst="rect">
            <a:avLst/>
          </a:prstGeom>
        </p:spPr>
      </p:pic>
      <p:sp>
        <p:nvSpPr>
          <p:cNvPr id="4" name="Прямоугольник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gradFill>
            <a:gsLst>
              <a:gs pos="53000">
                <a:schemeClr val="tx1">
                  <a:alpha val="58000"/>
                  <a:lumMod val="92000"/>
                  <a:lumOff val="8000"/>
                </a:schemeClr>
              </a:gs>
              <a:gs pos="0">
                <a:schemeClr val="bg1">
                  <a:alpha val="0"/>
                </a:schemeClr>
              </a:gs>
            </a:gsLst>
            <a:lin ang="10800000" scaled="1"/>
          </a:gra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7449E508-9816-4CBE-AE42-475D8AA060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B30F1-71AC-483A-82D4-FC45AA9955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928158"/>
      </p:ext>
    </p:extLst>
  </p:cSld>
  <p:clrMapOvr>
    <a:masterClrMapping/>
  </p:clrMapOvr>
  <p:transition spd="med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6">
    <p:bg>
      <p:bgPr>
        <a:solidFill>
          <a:srgbClr val="65BB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13">
            <a:extLst>
              <a:ext uri="{FF2B5EF4-FFF2-40B4-BE49-F238E27FC236}">
                <a16:creationId xmlns:a16="http://schemas.microsoft.com/office/drawing/2014/main" id="{2406A369-BDD1-094B-9145-4FD86B7F90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1719557"/>
            <a:ext cx="4893081" cy="707886"/>
          </a:xfrm>
          <a:prstGeom prst="rect">
            <a:avLst/>
          </a:prstGeom>
          <a:solidFill>
            <a:srgbClr val="8600FF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или цитату</a:t>
            </a:r>
          </a:p>
        </p:txBody>
      </p:sp>
      <p:sp>
        <p:nvSpPr>
          <p:cNvPr id="9" name="Текст 13">
            <a:extLst>
              <a:ext uri="{FF2B5EF4-FFF2-40B4-BE49-F238E27FC236}">
                <a16:creationId xmlns:a16="http://schemas.microsoft.com/office/drawing/2014/main" id="{1028BD2D-6933-CC49-9F0E-70D5D59B1C8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9479" y="1015465"/>
            <a:ext cx="5558952" cy="707886"/>
          </a:xfrm>
          <a:prstGeom prst="rect">
            <a:avLst/>
          </a:prstGeom>
          <a:solidFill>
            <a:srgbClr val="8600FF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Добавьте тезис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558635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7">
    <p:bg>
      <p:bgPr>
        <a:solidFill>
          <a:srgbClr val="27539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13">
            <a:extLst>
              <a:ext uri="{FF2B5EF4-FFF2-40B4-BE49-F238E27FC236}">
                <a16:creationId xmlns:a16="http://schemas.microsoft.com/office/drawing/2014/main" id="{A347AD39-108B-6C43-BF3D-DDCED6C1668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9479" y="1719557"/>
            <a:ext cx="4893081" cy="707886"/>
          </a:xfrm>
          <a:prstGeom prst="rect">
            <a:avLst/>
          </a:prstGeom>
          <a:solidFill>
            <a:srgbClr val="001C45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или цитату</a:t>
            </a:r>
          </a:p>
        </p:txBody>
      </p:sp>
      <p:sp>
        <p:nvSpPr>
          <p:cNvPr id="9" name="Текст 13">
            <a:extLst>
              <a:ext uri="{FF2B5EF4-FFF2-40B4-BE49-F238E27FC236}">
                <a16:creationId xmlns:a16="http://schemas.microsoft.com/office/drawing/2014/main" id="{BF01BA5D-90C2-9644-A2CC-002CED3DFC3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49479" y="1015465"/>
            <a:ext cx="5558952" cy="707886"/>
          </a:xfrm>
          <a:prstGeom prst="rect">
            <a:avLst/>
          </a:prstGeom>
          <a:solidFill>
            <a:srgbClr val="001C45"/>
          </a:solidFill>
        </p:spPr>
        <p:txBody>
          <a:bodyPr tIns="90000" bIns="36000" anchor="ctr"/>
          <a:lstStyle>
            <a:lvl1pPr marL="0" indent="0">
              <a:buNone/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Добавьте тезис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15234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7">
            <a:extLst>
              <a:ext uri="{FF2B5EF4-FFF2-40B4-BE49-F238E27FC236}">
                <a16:creationId xmlns:a16="http://schemas.microsoft.com/office/drawing/2014/main" id="{4D92EA3A-AE39-4D4D-B069-0A43DE46DC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424525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E44B064-529F-4740-B8CD-D334B71EA93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5104" y="845821"/>
            <a:ext cx="5145584" cy="3451859"/>
          </a:xfrm>
          <a:prstGeom prst="rect">
            <a:avLst/>
          </a:prstGeom>
        </p:spPr>
        <p:txBody>
          <a:bodyPr lIns="0" tIns="90000" anchor="ctr">
            <a:noAutofit/>
          </a:bodyPr>
          <a:lstStyle>
            <a:lvl1pPr marL="0" indent="0">
              <a:lnSpc>
                <a:spcPct val="130000"/>
              </a:lnSpc>
              <a:buNone/>
              <a:defRPr sz="1200" b="0" i="0" baseline="0">
                <a:latin typeface="Rostelecom Basis" panose="020B0503030604040103" pitchFamily="34" charset="0"/>
              </a:defRPr>
            </a:lvl1pPr>
          </a:lstStyle>
          <a:p>
            <a:r>
              <a:rPr lang="ru-RU" dirty="0"/>
              <a:t>«Ростелеком-Солар», компания группы ПАО «Ростелеком» – Национальный провайдер сервисов и технологий для защиты информационных активов, целевого мониторинга и управления информационной безопасностью</a:t>
            </a:r>
          </a:p>
          <a:p>
            <a:r>
              <a:rPr lang="ru-RU" dirty="0"/>
              <a:t>В основе наших технологий лежит понимание, что настоящая информационная безопасность возможна только через непрерывный мониторинг и удобное управление системами ИБ. Этот принцип реализован в продуктах и сервисах «Ростелеком-Солар»</a:t>
            </a:r>
          </a:p>
        </p:txBody>
      </p:sp>
      <p:sp>
        <p:nvSpPr>
          <p:cNvPr id="9" name="Заголовок 17">
            <a:extLst>
              <a:ext uri="{FF2B5EF4-FFF2-40B4-BE49-F238E27FC236}">
                <a16:creationId xmlns:a16="http://schemas.microsoft.com/office/drawing/2014/main" id="{4D92EA3A-AE39-4D4D-B069-0A43DE46DC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501434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7">
            <a:extLst>
              <a:ext uri="{FF2B5EF4-FFF2-40B4-BE49-F238E27FC236}">
                <a16:creationId xmlns:a16="http://schemas.microsoft.com/office/drawing/2014/main" id="{4D92EA3A-AE39-4D4D-B069-0A43DE46DC3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2AF17E00-C7AB-4A73-95D4-DDE59043FB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104" y="845820"/>
            <a:ext cx="4030216" cy="3550920"/>
          </a:xfrm>
          <a:prstGeom prst="rect">
            <a:avLst/>
          </a:prstGeom>
        </p:spPr>
        <p:txBody>
          <a:bodyPr wrap="square" lIns="0" tIns="90000" anchor="ctr">
            <a:noAutofit/>
          </a:bodyPr>
          <a:lstStyle>
            <a:lvl1pPr marL="216000" indent="-216000">
              <a:lnSpc>
                <a:spcPct val="100000"/>
              </a:lnSpc>
              <a:buClr>
                <a:srgbClr val="FF8218"/>
              </a:buClr>
              <a:buFont typeface="Arial" panose="020B0604020202020204" pitchFamily="34" charset="0"/>
              <a:buChar char="•"/>
              <a:defRPr sz="1200" b="0" i="0">
                <a:latin typeface="Rostelecom Basis" panose="020B0503030604040103" pitchFamily="34" charset="0"/>
              </a:defRPr>
            </a:lvl1pPr>
            <a:lvl2pPr marL="450000" indent="-228600">
              <a:buFont typeface="Basis Grotesque Pro Medium" panose="02000603030000020004" pitchFamily="50" charset="0"/>
              <a:buChar char="−"/>
              <a:defRPr lang="en-US" sz="1000" kern="1200" baseline="0" dirty="0" smtClean="0">
                <a:solidFill>
                  <a:schemeClr val="tx1"/>
                </a:solidFill>
                <a:latin typeface="Rostelecom Basis" panose="020B0604020202020204" charset="0"/>
                <a:ea typeface="+mn-ea"/>
                <a:cs typeface="+mn-cs"/>
              </a:defRPr>
            </a:lvl2pPr>
          </a:lstStyle>
          <a:p>
            <a:pPr lvl="0"/>
            <a:r>
              <a:rPr lang="ru-RU" dirty="0"/>
              <a:t>Пункт 1</a:t>
            </a:r>
          </a:p>
          <a:p>
            <a:pPr lvl="0"/>
            <a:r>
              <a:rPr lang="ru-RU" dirty="0"/>
              <a:t>Пункт 2</a:t>
            </a:r>
          </a:p>
          <a:p>
            <a:pPr lvl="0"/>
            <a:r>
              <a:rPr lang="ru-RU" dirty="0"/>
              <a:t>Пункт 3</a:t>
            </a:r>
          </a:p>
          <a:p>
            <a:pPr lvl="0"/>
            <a:r>
              <a:rPr lang="ru-RU" dirty="0"/>
              <a:t>Пункт 4</a:t>
            </a:r>
          </a:p>
          <a:p>
            <a:pPr lvl="1"/>
            <a:r>
              <a:rPr lang="ru-RU" dirty="0"/>
              <a:t>Подпункт </a:t>
            </a:r>
            <a:r>
              <a:rPr lang="en-US" dirty="0"/>
              <a:t>1</a:t>
            </a:r>
          </a:p>
          <a:p>
            <a:pPr lvl="1"/>
            <a:r>
              <a:rPr lang="ru-RU" dirty="0"/>
              <a:t>Подпункт 2</a:t>
            </a:r>
          </a:p>
        </p:txBody>
      </p:sp>
    </p:spTree>
    <p:extLst>
      <p:ext uri="{BB962C8B-B14F-4D97-AF65-F5344CB8AC3E}">
        <p14:creationId xmlns:p14="http://schemas.microsoft.com/office/powerpoint/2010/main" val="6454609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C0D5E61-9781-4A4F-8468-E01C36F4330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5104" y="838200"/>
            <a:ext cx="3947425" cy="3474720"/>
          </a:xfrm>
          <a:prstGeom prst="rect">
            <a:avLst/>
          </a:prstGeom>
        </p:spPr>
        <p:txBody>
          <a:bodyPr lIns="0" tIns="90000" anchor="ctr">
            <a:noAutofit/>
          </a:bodyPr>
          <a:lstStyle>
            <a:lvl1pPr marL="0" indent="0">
              <a:lnSpc>
                <a:spcPct val="130000"/>
              </a:lnSpc>
              <a:buNone/>
              <a:defRPr sz="1200" b="0" i="0">
                <a:latin typeface="Rostelecom Basis" panose="020B0503030604040103" pitchFamily="34" charset="0"/>
              </a:defRPr>
            </a:lvl1pPr>
          </a:lstStyle>
          <a:p>
            <a:r>
              <a:rPr lang="ru-RU" dirty="0"/>
              <a:t>«Ростелеком-Солар», компания группы ПАО «Ростелеком» – Национальный провайдер сервисов и технологий для защиты информационных активов, целевого мониторинга и управления информационной безопасностью</a:t>
            </a:r>
          </a:p>
          <a:p>
            <a:r>
              <a:rPr lang="ru-RU" dirty="0"/>
              <a:t>В основе наших технологий лежит понимание, что настоящая информационная безопасность возможна только через непрерывный мониторинг и удобное управление системами ИБ. Этот принцип реализован в продуктах и сервисах «Ростелеком-Солар»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820EF1F-483C-5A42-8CC3-5C06DB39D0E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5881" y="838200"/>
            <a:ext cx="3947425" cy="3474720"/>
          </a:xfrm>
          <a:prstGeom prst="rect">
            <a:avLst/>
          </a:prstGeom>
        </p:spPr>
        <p:txBody>
          <a:bodyPr lIns="0" tIns="90000" anchor="ctr">
            <a:noAutofit/>
          </a:bodyPr>
          <a:lstStyle>
            <a:lvl1pPr marL="0" indent="0">
              <a:lnSpc>
                <a:spcPct val="130000"/>
              </a:lnSpc>
              <a:buNone/>
              <a:defRPr sz="1200" b="0" i="0">
                <a:latin typeface="Rostelecom Basis" panose="020B0503030604040103" pitchFamily="34" charset="0"/>
              </a:defRPr>
            </a:lvl1pPr>
          </a:lstStyle>
          <a:p>
            <a:r>
              <a:rPr lang="ru-RU" dirty="0"/>
              <a:t>«Ростелеком-Солар», компания группы ПАО «Ростелеком» – Национальный провайдер сервисов и технологий для защиты информационных активов, целевого мониторинга и управления информационной безопасностью </a:t>
            </a:r>
          </a:p>
          <a:p>
            <a:r>
              <a:rPr lang="ru-RU" dirty="0"/>
              <a:t>В основе наших технологий лежит понимание, что настоящая информационная безопасность возможна только через непрерывный мониторинг и удобное управление системами ИБ. Этот принцип реализован в продуктах и сервисах «Ростелеком-Солар»</a:t>
            </a:r>
          </a:p>
        </p:txBody>
      </p:sp>
      <p:sp>
        <p:nvSpPr>
          <p:cNvPr id="16" name="Заголовок 17">
            <a:extLst>
              <a:ext uri="{FF2B5EF4-FFF2-40B4-BE49-F238E27FC236}">
                <a16:creationId xmlns:a16="http://schemas.microsoft.com/office/drawing/2014/main" id="{F089BE86-EB20-A448-A4C4-96CFFD10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915925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820EF1F-483C-5A42-8CC3-5C06DB39D0E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65881" y="1677988"/>
            <a:ext cx="3947425" cy="1990629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216000" indent="-216000">
              <a:lnSpc>
                <a:spcPct val="130000"/>
              </a:lnSpc>
              <a:buClr>
                <a:srgbClr val="FF8218"/>
              </a:buClr>
              <a:buFont typeface="Arial" panose="020B0604020202020204" pitchFamily="34" charset="0"/>
              <a:buChar char="•"/>
              <a:defRPr sz="1200" b="0" i="0" baseline="0">
                <a:latin typeface="Rostelecom Basis" panose="020B0503030604040103" pitchFamily="34" charset="0"/>
              </a:defRPr>
            </a:lvl1pPr>
            <a:lvl2pPr marL="450000" indent="-228600">
              <a:buFont typeface="Basis Grotesque Pro Medium" panose="02000603030000020004" pitchFamily="50" charset="0"/>
              <a:buChar char="−"/>
              <a:defRPr sz="1000">
                <a:latin typeface="Rostelecom Basis" panose="020B0604020202020204" charset="0"/>
              </a:defRPr>
            </a:lvl2pPr>
          </a:lstStyle>
          <a:p>
            <a:pPr lvl="0"/>
            <a:r>
              <a:rPr lang="ru-RU" dirty="0"/>
              <a:t>Пункт 1</a:t>
            </a:r>
          </a:p>
          <a:p>
            <a:pPr lvl="0"/>
            <a:r>
              <a:rPr lang="ru-RU" dirty="0"/>
              <a:t>Пункт 2</a:t>
            </a:r>
          </a:p>
          <a:p>
            <a:pPr lvl="0"/>
            <a:r>
              <a:rPr lang="ru-RU" dirty="0"/>
              <a:t>Пункт 3</a:t>
            </a:r>
          </a:p>
          <a:p>
            <a:pPr lvl="0"/>
            <a:r>
              <a:rPr lang="ru-RU" dirty="0"/>
              <a:t>Пункт 4</a:t>
            </a:r>
            <a:endParaRPr lang="en-US" dirty="0"/>
          </a:p>
          <a:p>
            <a:pPr lvl="1"/>
            <a:r>
              <a:rPr lang="ru-RU" dirty="0"/>
              <a:t>Подпункт 1</a:t>
            </a:r>
          </a:p>
          <a:p>
            <a:pPr lvl="1"/>
            <a:r>
              <a:rPr lang="ru-RU" dirty="0"/>
              <a:t>Подпункт 2</a:t>
            </a:r>
          </a:p>
        </p:txBody>
      </p:sp>
      <p:sp>
        <p:nvSpPr>
          <p:cNvPr id="16" name="Заголовок 17">
            <a:extLst>
              <a:ext uri="{FF2B5EF4-FFF2-40B4-BE49-F238E27FC236}">
                <a16:creationId xmlns:a16="http://schemas.microsoft.com/office/drawing/2014/main" id="{F089BE86-EB20-A448-A4C4-96CFFD10D2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820EF1F-483C-5A42-8CC3-5C06DB39D0E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4802" y="1673398"/>
            <a:ext cx="3947425" cy="1990629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216000" indent="-216000">
              <a:lnSpc>
                <a:spcPct val="130000"/>
              </a:lnSpc>
              <a:buClr>
                <a:srgbClr val="FF8218"/>
              </a:buClr>
              <a:buFont typeface="Arial" panose="020B0604020202020204" pitchFamily="34" charset="0"/>
              <a:buChar char="•"/>
              <a:defRPr sz="1200" b="0" i="0" baseline="0">
                <a:latin typeface="Rostelecom Basis" panose="020B0503030604040103" pitchFamily="34" charset="0"/>
              </a:defRPr>
            </a:lvl1pPr>
            <a:lvl2pPr marL="450000" indent="-228600">
              <a:buFont typeface="Basis Grotesque Pro Medium" panose="02000603030000020004" pitchFamily="50" charset="0"/>
              <a:buChar char="−"/>
              <a:defRPr sz="1000">
                <a:latin typeface="Rostelecom Basis" panose="020B0604020202020204" charset="0"/>
              </a:defRPr>
            </a:lvl2pPr>
          </a:lstStyle>
          <a:p>
            <a:pPr lvl="0"/>
            <a:r>
              <a:rPr lang="ru-RU" dirty="0"/>
              <a:t>Пункт 1</a:t>
            </a:r>
          </a:p>
          <a:p>
            <a:pPr lvl="0"/>
            <a:r>
              <a:rPr lang="ru-RU" dirty="0"/>
              <a:t>Пункт 2</a:t>
            </a:r>
          </a:p>
          <a:p>
            <a:pPr lvl="0"/>
            <a:r>
              <a:rPr lang="ru-RU" dirty="0"/>
              <a:t>Пункт 3</a:t>
            </a:r>
          </a:p>
          <a:p>
            <a:pPr lvl="0"/>
            <a:r>
              <a:rPr lang="ru-RU" dirty="0"/>
              <a:t>Пункт 4</a:t>
            </a:r>
            <a:endParaRPr lang="en-US" dirty="0"/>
          </a:p>
          <a:p>
            <a:pPr lvl="1"/>
            <a:r>
              <a:rPr lang="ru-RU" dirty="0"/>
              <a:t>Подпункт 1</a:t>
            </a:r>
          </a:p>
          <a:p>
            <a:pPr lvl="1"/>
            <a:r>
              <a:rPr lang="ru-RU" dirty="0"/>
              <a:t>Подпункт 2</a:t>
            </a:r>
          </a:p>
        </p:txBody>
      </p:sp>
    </p:spTree>
    <p:extLst>
      <p:ext uri="{BB962C8B-B14F-4D97-AF65-F5344CB8AC3E}">
        <p14:creationId xmlns:p14="http://schemas.microsoft.com/office/powerpoint/2010/main" val="31680287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038E98B-4B8E-4EA3-AAF6-3ABA47E16D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9395" y="1865313"/>
            <a:ext cx="3504275" cy="1245041"/>
          </a:xfrm>
          <a:prstGeom prst="rect">
            <a:avLst/>
          </a:prstGeom>
        </p:spPr>
        <p:txBody>
          <a:bodyPr wrap="square" lIns="0" tIns="90000">
            <a:spAutoFit/>
          </a:bodyPr>
          <a:lstStyle>
            <a:lvl1pPr marL="0" indent="0">
              <a:lnSpc>
                <a:spcPct val="100000"/>
              </a:lnSpc>
              <a:buNone/>
              <a:defRPr sz="1800" b="0" i="0"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Основное сообщение слайда, более важную мысль и идею можно дополнительно выделить</a:t>
            </a:r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F3EA056-A9D0-4391-9B78-1C4C6780A8C2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2378" y="1174654"/>
            <a:ext cx="558800" cy="558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800"/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60DF90D-A1E6-1D4A-9294-67E6DC82C24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765881" y="1865313"/>
            <a:ext cx="3947425" cy="1990629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 marL="0" indent="0">
              <a:lnSpc>
                <a:spcPct val="130000"/>
              </a:lnSpc>
              <a:buNone/>
              <a:defRPr sz="12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нутренняя коммуникация «Ростелеком-Солар», вероятно, должна быть более нейтральной и спокойной, так как ей будут пользоваться одни и те же люди каждый день. Она не должна быстро надоесть. </a:t>
            </a:r>
          </a:p>
        </p:txBody>
      </p:sp>
      <p:sp>
        <p:nvSpPr>
          <p:cNvPr id="10" name="Заголовок 17">
            <a:extLst>
              <a:ext uri="{FF2B5EF4-FFF2-40B4-BE49-F238E27FC236}">
                <a16:creationId xmlns:a16="http://schemas.microsoft.com/office/drawing/2014/main" id="{06321E22-99EF-264D-BC59-6843D838A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4" name="TextBox 13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69863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A419AA77-1B10-4BE7-A3FA-ECCBB414AE0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770714" y="1023873"/>
            <a:ext cx="558800" cy="558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800">
                <a:latin typeface="+mj-lt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F3C3DD05-4AC4-4701-97B7-7E591F86EADA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39069" y="1020200"/>
            <a:ext cx="558800" cy="558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800">
                <a:latin typeface="+mj-lt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13CEF8F0-7B7B-4062-B8A2-D186D891FB23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776228" y="2692921"/>
            <a:ext cx="558800" cy="558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800">
                <a:latin typeface="+mj-lt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48290962-CC68-4919-927C-CF7885853C07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442746" y="2698429"/>
            <a:ext cx="558800" cy="558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800">
                <a:latin typeface="+mj-lt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3B9A8657-207A-4853-95E1-E540B43D1D7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104" y="3266329"/>
            <a:ext cx="3337785" cy="96140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Опция 3</a:t>
            </a:r>
            <a:r>
              <a:rPr lang="en-US" dirty="0"/>
              <a:t> </a:t>
            </a:r>
            <a:br>
              <a:rPr lang="en-US" dirty="0"/>
            </a:br>
            <a:r>
              <a:rPr lang="ru-RU" dirty="0"/>
              <a:t>Внутренняя коммуникация «Ростелекома», вероятно, должна быть более нейтральной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D44BA8D-8FF8-43F4-B1C0-7AFAD66A1D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9671" y="1595419"/>
            <a:ext cx="3337785" cy="891645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Опция 1</a:t>
            </a:r>
            <a:r>
              <a:rPr lang="en-US" dirty="0"/>
              <a:t> </a:t>
            </a:r>
            <a:br>
              <a:rPr lang="en-US" dirty="0"/>
            </a:br>
            <a:r>
              <a:rPr lang="ru-RU" dirty="0"/>
              <a:t>Внутренняя коммуникация «Ростелеком», вероятно, должна быть более нейтральной. </a:t>
            </a:r>
          </a:p>
        </p:txBody>
      </p:sp>
      <p:sp>
        <p:nvSpPr>
          <p:cNvPr id="12" name="Заголовок 17">
            <a:extLst>
              <a:ext uri="{FF2B5EF4-FFF2-40B4-BE49-F238E27FC236}">
                <a16:creationId xmlns:a16="http://schemas.microsoft.com/office/drawing/2014/main" id="{F89E4921-2495-7F40-B70F-2E42942CC9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070CF042-EB6B-6046-A4F3-56033B7C994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70003" y="3266329"/>
            <a:ext cx="3337785" cy="96140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Опция 4</a:t>
            </a:r>
            <a:br>
              <a:rPr lang="en-US" dirty="0"/>
            </a:br>
            <a:r>
              <a:rPr lang="ru-RU" dirty="0"/>
              <a:t>Внутренняя коммуникация «Ростелекома», вероятно, должна быть более нейтральной. 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4AAC46A-98FE-534D-AF70-7FCE50D77F8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774570" y="1595419"/>
            <a:ext cx="3337785" cy="891645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Опция 2</a:t>
            </a:r>
            <a:br>
              <a:rPr lang="en-US" dirty="0"/>
            </a:br>
            <a:r>
              <a:rPr lang="ru-RU" dirty="0"/>
              <a:t>Внутренняя коммуникация «Ростелекома», вероятно, должна быть более нейтральной. 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69632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D33E436C-0090-4DB1-AFB6-759538D3FF6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295776" y="1309413"/>
            <a:ext cx="558800" cy="558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800">
                <a:latin typeface="+mj-lt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E86DEE-A023-4605-92CA-F3B6FB7F85E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5104" y="1305740"/>
            <a:ext cx="558800" cy="558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800">
                <a:latin typeface="+mj-lt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9316294A-1218-493B-8A6B-D3AF9A524CDC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153329" y="1309447"/>
            <a:ext cx="558800" cy="558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800">
                <a:latin typeface="+mj-lt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5043173-0C8E-4088-B0A0-EEA5A374707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104" y="2013558"/>
            <a:ext cx="2026968" cy="1318873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Опция 1</a:t>
            </a:r>
            <a:r>
              <a:rPr lang="en-US" dirty="0"/>
              <a:t> </a:t>
            </a:r>
            <a:br>
              <a:rPr lang="en-US" dirty="0"/>
            </a:br>
            <a:r>
              <a:rPr lang="ru-RU" dirty="0"/>
              <a:t>Внутренняя коммуникация «Ростелеком-Солар», вероятно, должна быть более нейтральной. 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23D982E-A51C-4B46-8B03-D9F75FDBF6F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95776" y="2018121"/>
            <a:ext cx="2022374" cy="1318873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Опция 2</a:t>
            </a:r>
            <a:r>
              <a:rPr lang="en-US" dirty="0"/>
              <a:t> </a:t>
            </a:r>
            <a:br>
              <a:rPr lang="en-US" dirty="0"/>
            </a:br>
            <a:r>
              <a:rPr lang="ru-RU" dirty="0"/>
              <a:t>Внутренняя коммуникация «Ростелеком-Солар», вероятно, должна быть более нейтральной.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8F48B7D0-DBC4-4EDA-AF42-18891E5718B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54805" y="2022687"/>
            <a:ext cx="2022374" cy="1318873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Опция 3</a:t>
            </a:r>
            <a:r>
              <a:rPr lang="en-US" dirty="0"/>
              <a:t> </a:t>
            </a:r>
            <a:br>
              <a:rPr lang="en-US" dirty="0"/>
            </a:br>
            <a:r>
              <a:rPr lang="ru-RU" dirty="0"/>
              <a:t>Внутренняя коммуникация «Ростелеком-Солар», вероятно, должна быть более нейтральной. </a:t>
            </a:r>
          </a:p>
        </p:txBody>
      </p:sp>
      <p:sp>
        <p:nvSpPr>
          <p:cNvPr id="13" name="Заголовок 17">
            <a:extLst>
              <a:ext uri="{FF2B5EF4-FFF2-40B4-BE49-F238E27FC236}">
                <a16:creationId xmlns:a16="http://schemas.microsoft.com/office/drawing/2014/main" id="{37980FAE-5EBE-AE4F-9722-32BF472E2F0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7" name="TextBox 16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7780230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6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4430022" y="-260"/>
            <a:ext cx="4761603" cy="5143760"/>
          </a:xfrm>
          <a:prstGeom prst="rect">
            <a:avLst/>
          </a:prstGeom>
        </p:spPr>
      </p:pic>
      <p:sp>
        <p:nvSpPr>
          <p:cNvPr id="11" name="Прямоугольник 6">
            <a:extLst>
              <a:ext uri="{FF2B5EF4-FFF2-40B4-BE49-F238E27FC236}">
                <a16:creationId xmlns:a16="http://schemas.microsoft.com/office/drawing/2014/main" id="{4CF3D02A-AF50-4BAC-B3BA-DB6BA1BFBD8C}"/>
              </a:ext>
            </a:extLst>
          </p:cNvPr>
          <p:cNvSpPr/>
          <p:nvPr userDrawn="1"/>
        </p:nvSpPr>
        <p:spPr>
          <a:xfrm>
            <a:off x="0" y="-260"/>
            <a:ext cx="6368492" cy="5143760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371493 w 6869152"/>
              <a:gd name="connsiteY2" fmla="*/ 685800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7632391"/>
              <a:gd name="connsiteY0" fmla="*/ 0 h 6869152"/>
              <a:gd name="connsiteX1" fmla="*/ 7632391 w 7632391"/>
              <a:gd name="connsiteY1" fmla="*/ 11151 h 6869152"/>
              <a:gd name="connsiteX2" fmla="*/ 5371493 w 7632391"/>
              <a:gd name="connsiteY2" fmla="*/ 6858002 h 6869152"/>
              <a:gd name="connsiteX3" fmla="*/ 0 w 7632391"/>
              <a:gd name="connsiteY3" fmla="*/ 6869152 h 6869152"/>
              <a:gd name="connsiteX4" fmla="*/ 0 w 7632391"/>
              <a:gd name="connsiteY4" fmla="*/ 0 h 6869152"/>
              <a:gd name="connsiteX0" fmla="*/ 0 w 7629198"/>
              <a:gd name="connsiteY0" fmla="*/ 0 h 6869152"/>
              <a:gd name="connsiteX1" fmla="*/ 7629198 w 7629198"/>
              <a:gd name="connsiteY1" fmla="*/ 21754 h 6869152"/>
              <a:gd name="connsiteX2" fmla="*/ 5371493 w 7629198"/>
              <a:gd name="connsiteY2" fmla="*/ 6858002 h 6869152"/>
              <a:gd name="connsiteX3" fmla="*/ 0 w 7629198"/>
              <a:gd name="connsiteY3" fmla="*/ 6869152 h 6869152"/>
              <a:gd name="connsiteX4" fmla="*/ 0 w 7629198"/>
              <a:gd name="connsiteY4" fmla="*/ 0 h 6869152"/>
              <a:gd name="connsiteX0" fmla="*/ 31928 w 7629198"/>
              <a:gd name="connsiteY0" fmla="*/ 2065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1928 w 7629198"/>
              <a:gd name="connsiteY4" fmla="*/ 20655 h 6847398"/>
              <a:gd name="connsiteX0" fmla="*/ 0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0 w 7629198"/>
              <a:gd name="connsiteY4" fmla="*/ 2985 h 6847398"/>
              <a:gd name="connsiteX0" fmla="*/ 34766 w 7629198"/>
              <a:gd name="connsiteY0" fmla="*/ 31848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4766 w 7629198"/>
              <a:gd name="connsiteY4" fmla="*/ 31848 h 6847398"/>
              <a:gd name="connsiteX0" fmla="*/ 2897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2897 w 7629198"/>
              <a:gd name="connsiteY4" fmla="*/ 2985 h 6847398"/>
              <a:gd name="connsiteX0" fmla="*/ 19 w 7626320"/>
              <a:gd name="connsiteY0" fmla="*/ 2985 h 6836248"/>
              <a:gd name="connsiteX1" fmla="*/ 7626320 w 7626320"/>
              <a:gd name="connsiteY1" fmla="*/ 0 h 6836248"/>
              <a:gd name="connsiteX2" fmla="*/ 5368615 w 7626320"/>
              <a:gd name="connsiteY2" fmla="*/ 6836248 h 6836248"/>
              <a:gd name="connsiteX3" fmla="*/ 34785 w 7626320"/>
              <a:gd name="connsiteY3" fmla="*/ 6786467 h 6836248"/>
              <a:gd name="connsiteX4" fmla="*/ 19 w 7626320"/>
              <a:gd name="connsiteY4" fmla="*/ 2985 h 6836248"/>
              <a:gd name="connsiteX0" fmla="*/ 278 w 7626579"/>
              <a:gd name="connsiteY0" fmla="*/ 2985 h 6836248"/>
              <a:gd name="connsiteX1" fmla="*/ 7626579 w 7626579"/>
              <a:gd name="connsiteY1" fmla="*/ 0 h 6836248"/>
              <a:gd name="connsiteX2" fmla="*/ 5368874 w 7626579"/>
              <a:gd name="connsiteY2" fmla="*/ 6836248 h 6836248"/>
              <a:gd name="connsiteX3" fmla="*/ 278 w 7626579"/>
              <a:gd name="connsiteY3" fmla="*/ 6818536 h 6836248"/>
              <a:gd name="connsiteX4" fmla="*/ 278 w 7626579"/>
              <a:gd name="connsiteY4" fmla="*/ 2985 h 6836248"/>
              <a:gd name="connsiteX0" fmla="*/ 278 w 7626579"/>
              <a:gd name="connsiteY0" fmla="*/ 2985 h 6818536"/>
              <a:gd name="connsiteX1" fmla="*/ 7626579 w 7626579"/>
              <a:gd name="connsiteY1" fmla="*/ 0 h 6818536"/>
              <a:gd name="connsiteX2" fmla="*/ 5368874 w 7626579"/>
              <a:gd name="connsiteY2" fmla="*/ 6817007 h 6818536"/>
              <a:gd name="connsiteX3" fmla="*/ 278 w 7626579"/>
              <a:gd name="connsiteY3" fmla="*/ 6818536 h 6818536"/>
              <a:gd name="connsiteX4" fmla="*/ 278 w 7626579"/>
              <a:gd name="connsiteY4" fmla="*/ 2985 h 681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27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7449E508-9816-4CBE-AE42-475D8AA060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B30F1-71AC-483A-82D4-FC45AA9955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990541"/>
      </p:ext>
    </p:extLst>
  </p:cSld>
  <p:clrMapOvr>
    <a:masterClrMapping/>
  </p:clrMapOvr>
  <p:transition spd="med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" name="Прямая соединительная линия 2">
            <a:extLst>
              <a:ext uri="{FF2B5EF4-FFF2-40B4-BE49-F238E27FC236}">
                <a16:creationId xmlns:a16="http://schemas.microsoft.com/office/drawing/2014/main" id="{516D5CD8-6CFC-404E-994F-C897A4A33828}"/>
              </a:ext>
            </a:extLst>
          </p:cNvPr>
          <p:cNvCxnSpPr/>
          <p:nvPr userDrawn="1"/>
        </p:nvCxnSpPr>
        <p:spPr>
          <a:xfrm>
            <a:off x="440464" y="1240374"/>
            <a:ext cx="501893" cy="0"/>
          </a:xfrm>
          <a:prstGeom prst="line">
            <a:avLst/>
          </a:prstGeom>
          <a:noFill/>
          <a:ln w="38100" cap="flat" cmpd="sng" algn="ctr">
            <a:solidFill>
              <a:srgbClr val="FF8218"/>
            </a:solidFill>
            <a:prstDash val="solid"/>
            <a:miter lim="800000"/>
          </a:ln>
          <a:effectLst/>
        </p:spPr>
      </p:cxnSp>
      <p:cxnSp>
        <p:nvCxnSpPr>
          <p:cNvPr id="14" name="Прямая соединительная линия 16">
            <a:extLst>
              <a:ext uri="{FF2B5EF4-FFF2-40B4-BE49-F238E27FC236}">
                <a16:creationId xmlns:a16="http://schemas.microsoft.com/office/drawing/2014/main" id="{9979B911-F986-4717-B5EC-B31AD8F250E5}"/>
              </a:ext>
            </a:extLst>
          </p:cNvPr>
          <p:cNvCxnSpPr/>
          <p:nvPr userDrawn="1"/>
        </p:nvCxnSpPr>
        <p:spPr>
          <a:xfrm>
            <a:off x="3294954" y="1249638"/>
            <a:ext cx="501893" cy="0"/>
          </a:xfrm>
          <a:prstGeom prst="line">
            <a:avLst/>
          </a:prstGeom>
          <a:noFill/>
          <a:ln w="38100" cap="flat" cmpd="sng" algn="ctr">
            <a:solidFill>
              <a:srgbClr val="FF8218"/>
            </a:solidFill>
            <a:prstDash val="solid"/>
            <a:miter lim="800000"/>
          </a:ln>
          <a:effectLst/>
        </p:spPr>
      </p:cxnSp>
      <p:cxnSp>
        <p:nvCxnSpPr>
          <p:cNvPr id="16" name="Прямая соединительная линия 22">
            <a:extLst>
              <a:ext uri="{FF2B5EF4-FFF2-40B4-BE49-F238E27FC236}">
                <a16:creationId xmlns:a16="http://schemas.microsoft.com/office/drawing/2014/main" id="{63BFA849-6A42-41A0-B1E4-DC9521C8FFD1}"/>
              </a:ext>
            </a:extLst>
          </p:cNvPr>
          <p:cNvCxnSpPr/>
          <p:nvPr userDrawn="1"/>
        </p:nvCxnSpPr>
        <p:spPr>
          <a:xfrm>
            <a:off x="6155489" y="1240374"/>
            <a:ext cx="501893" cy="0"/>
          </a:xfrm>
          <a:prstGeom prst="line">
            <a:avLst/>
          </a:prstGeom>
          <a:noFill/>
          <a:ln w="38100" cap="flat" cmpd="sng" algn="ctr">
            <a:solidFill>
              <a:srgbClr val="FF8218"/>
            </a:solidFill>
            <a:prstDash val="solid"/>
            <a:miter lim="800000"/>
          </a:ln>
          <a:effectLst/>
        </p:spPr>
      </p:cxn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F03FAAB3-2D08-4C80-A4DF-1C5081A444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104" y="1310788"/>
            <a:ext cx="2439781" cy="156359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Внутренняя коммуникация «Ростелеком-Солар», вероятно, должна быть более нейтральной и спокойной, так как ей будут пользоваться одни и те же люди каждый день.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8ECFBB4F-4E32-4FDF-AE9A-0093733B5D8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94954" y="1324615"/>
            <a:ext cx="2439781" cy="156359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Внутренняя коммуникация «Ростелеком-Солар», вероятно, должна быть более нейтральной и спокойной, так как ей будут пользоваться одни и те же люди каждый день.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DFE44916-8FA1-42E8-84AC-6405B960F7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54805" y="1319917"/>
            <a:ext cx="2439780" cy="1563590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Внутренняя коммуникация «Ростелеком-Солар», вероятно, должна быть более нейтральной и спокойной, так как ей будут пользоваться одни и те же люди каждый день. </a:t>
            </a:r>
          </a:p>
        </p:txBody>
      </p:sp>
      <p:sp>
        <p:nvSpPr>
          <p:cNvPr id="15" name="Заголовок 17">
            <a:extLst>
              <a:ext uri="{FF2B5EF4-FFF2-40B4-BE49-F238E27FC236}">
                <a16:creationId xmlns:a16="http://schemas.microsoft.com/office/drawing/2014/main" id="{F7C68785-B95F-DE42-B7EA-52708B117E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20" name="TextBox 19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47881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E95DA647-F18C-46B5-9842-FB154553F2C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116" y="2011076"/>
            <a:ext cx="2439781" cy="1083458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Внутренняя коммуникация «Ростелеком-Солар», вероятно, должна быть более нейтральной и спокойной. 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F38105C4-90D0-4DCA-838E-99A693116F3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92460" y="2015639"/>
            <a:ext cx="2439781" cy="1083458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Внутренняя коммуникация «Ростелекома-Солар», вероятно, должна быть более нейтральной и спокойной. 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5BE8CE37-87D2-46D8-A043-BF515B11C5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54805" y="2020205"/>
            <a:ext cx="2439780" cy="1083458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Внутренняя коммуникация «Ростелекома-Солар», вероятно, должна быть более нейтральной и спокойной.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EC6978A-B321-46CC-8EAD-8EE3B468738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35104" y="1539875"/>
            <a:ext cx="1974850" cy="430213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buNone/>
              <a:defRPr sz="2400" b="0" i="0">
                <a:solidFill>
                  <a:srgbClr val="FF8218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1 задача</a:t>
            </a:r>
            <a:endParaRPr lang="en-US" dirty="0"/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2A64C352-769B-42F4-82BF-88CCE3A3108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292460" y="1544438"/>
            <a:ext cx="1974850" cy="430213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buNone/>
              <a:defRPr sz="2400" b="0" i="0">
                <a:solidFill>
                  <a:srgbClr val="FF8218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2 задача</a:t>
            </a:r>
            <a:endParaRPr lang="en-US" dirty="0"/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0C3CC3BE-1DDC-4C9D-AE93-E95D498B8A8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54805" y="1544438"/>
            <a:ext cx="1974850" cy="430213"/>
          </a:xfrm>
          <a:prstGeom prst="rect">
            <a:avLst/>
          </a:prstGeom>
        </p:spPr>
        <p:txBody>
          <a:bodyPr lIns="0"/>
          <a:lstStyle>
            <a:lvl1pPr marL="0" indent="0">
              <a:lnSpc>
                <a:spcPct val="100000"/>
              </a:lnSpc>
              <a:buNone/>
              <a:defRPr sz="2400" b="0" i="0">
                <a:solidFill>
                  <a:srgbClr val="FF8218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3 задача</a:t>
            </a:r>
            <a:endParaRPr lang="en-US" dirty="0"/>
          </a:p>
        </p:txBody>
      </p:sp>
      <p:sp>
        <p:nvSpPr>
          <p:cNvPr id="25" name="Заголовок 17">
            <a:extLst>
              <a:ext uri="{FF2B5EF4-FFF2-40B4-BE49-F238E27FC236}">
                <a16:creationId xmlns:a16="http://schemas.microsoft.com/office/drawing/2014/main" id="{95E341E8-5D5B-9E41-9286-773A6F21F8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203855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Капля 28">
            <a:extLst>
              <a:ext uri="{FF2B5EF4-FFF2-40B4-BE49-F238E27FC236}">
                <a16:creationId xmlns:a16="http://schemas.microsoft.com/office/drawing/2014/main" id="{E4D97FBF-DE83-4BF7-AD76-FC553196EADD}"/>
              </a:ext>
            </a:extLst>
          </p:cNvPr>
          <p:cNvSpPr/>
          <p:nvPr userDrawn="1"/>
        </p:nvSpPr>
        <p:spPr>
          <a:xfrm rot="13500000" flipH="1">
            <a:off x="3232233" y="1301759"/>
            <a:ext cx="626209" cy="626209"/>
          </a:xfrm>
          <a:prstGeom prst="teardrop">
            <a:avLst/>
          </a:prstGeom>
          <a:solidFill>
            <a:srgbClr val="8600FF">
              <a:alpha val="7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cxnSp>
        <p:nvCxnSpPr>
          <p:cNvPr id="14" name="Прямая соединительная линия 9">
            <a:extLst>
              <a:ext uri="{FF2B5EF4-FFF2-40B4-BE49-F238E27FC236}">
                <a16:creationId xmlns:a16="http://schemas.microsoft.com/office/drawing/2014/main" id="{8BBC4119-2CEF-416F-BFC2-9491E369F32B}"/>
              </a:ext>
            </a:extLst>
          </p:cNvPr>
          <p:cNvCxnSpPr>
            <a:cxnSpLocks/>
          </p:cNvCxnSpPr>
          <p:nvPr/>
        </p:nvCxnSpPr>
        <p:spPr>
          <a:xfrm>
            <a:off x="494195" y="2050827"/>
            <a:ext cx="7995255" cy="0"/>
          </a:xfrm>
          <a:prstGeom prst="line">
            <a:avLst/>
          </a:prstGeom>
          <a:noFill/>
          <a:ln w="25400" cap="rnd" cmpd="sng" algn="ctr">
            <a:solidFill>
              <a:sysClr val="window" lastClr="FFFFFF">
                <a:lumMod val="85000"/>
              </a:sysClr>
            </a:solidFill>
            <a:prstDash val="sysDot"/>
            <a:miter lim="800000"/>
          </a:ln>
          <a:effectLst/>
        </p:spPr>
      </p:cxnSp>
      <p:sp>
        <p:nvSpPr>
          <p:cNvPr id="15" name="Капля 28">
            <a:extLst>
              <a:ext uri="{FF2B5EF4-FFF2-40B4-BE49-F238E27FC236}">
                <a16:creationId xmlns:a16="http://schemas.microsoft.com/office/drawing/2014/main" id="{7AB9217F-B3AA-4499-8918-02504E3854EA}"/>
              </a:ext>
            </a:extLst>
          </p:cNvPr>
          <p:cNvSpPr/>
          <p:nvPr userDrawn="1"/>
        </p:nvSpPr>
        <p:spPr>
          <a:xfrm rot="13500000" flipH="1">
            <a:off x="5970572" y="1301959"/>
            <a:ext cx="626209" cy="626209"/>
          </a:xfrm>
          <a:prstGeom prst="teardrop">
            <a:avLst/>
          </a:prstGeom>
          <a:solidFill>
            <a:srgbClr val="8600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DEF8540-D8AA-433F-9A94-561CDDCB96B1}"/>
              </a:ext>
            </a:extLst>
          </p:cNvPr>
          <p:cNvSpPr txBox="1"/>
          <p:nvPr/>
        </p:nvSpPr>
        <p:spPr>
          <a:xfrm>
            <a:off x="6082642" y="1406456"/>
            <a:ext cx="4020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sis Grotesque Pro" panose="02000503030000020004" pitchFamily="2" charset="0"/>
                <a:ea typeface="+mn-ea"/>
                <a:cs typeface="+mn-cs"/>
                <a:sym typeface="Helvetica Neue"/>
              </a:rPr>
              <a:t>3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2002825-B3D8-41E5-A7BD-6F7BD6AD6009}"/>
              </a:ext>
            </a:extLst>
          </p:cNvPr>
          <p:cNvSpPr txBox="1"/>
          <p:nvPr/>
        </p:nvSpPr>
        <p:spPr>
          <a:xfrm>
            <a:off x="3352978" y="1406456"/>
            <a:ext cx="4020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sis Grotesque Pro" panose="02000503030000020004" pitchFamily="2" charset="0"/>
                <a:ea typeface="+mn-ea"/>
                <a:cs typeface="+mn-cs"/>
                <a:sym typeface="Helvetica Neue"/>
              </a:rPr>
              <a:t>2</a:t>
            </a:r>
          </a:p>
        </p:txBody>
      </p:sp>
      <p:sp>
        <p:nvSpPr>
          <p:cNvPr id="19" name="Капля 33">
            <a:extLst>
              <a:ext uri="{FF2B5EF4-FFF2-40B4-BE49-F238E27FC236}">
                <a16:creationId xmlns:a16="http://schemas.microsoft.com/office/drawing/2014/main" id="{EE02C1C3-A6D9-4F5C-A166-8881FFEEA90F}"/>
              </a:ext>
            </a:extLst>
          </p:cNvPr>
          <p:cNvSpPr/>
          <p:nvPr/>
        </p:nvSpPr>
        <p:spPr>
          <a:xfrm rot="13500000" flipH="1">
            <a:off x="475297" y="1301960"/>
            <a:ext cx="626209" cy="626209"/>
          </a:xfrm>
          <a:prstGeom prst="teardrop">
            <a:avLst/>
          </a:prstGeom>
          <a:solidFill>
            <a:srgbClr val="8600FF">
              <a:alpha val="5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F2B9A36-EFD3-4768-A25A-CC5F689F06AF}"/>
              </a:ext>
            </a:extLst>
          </p:cNvPr>
          <p:cNvSpPr txBox="1"/>
          <p:nvPr/>
        </p:nvSpPr>
        <p:spPr>
          <a:xfrm>
            <a:off x="573299" y="1406457"/>
            <a:ext cx="4020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asis Grotesque Pro" panose="02000503030000020004" pitchFamily="2" charset="0"/>
                <a:ea typeface="+mn-ea"/>
                <a:cs typeface="+mn-cs"/>
                <a:sym typeface="Helvetica Neue"/>
              </a:rPr>
              <a:t>1</a:t>
            </a:r>
          </a:p>
        </p:txBody>
      </p:sp>
      <p:sp>
        <p:nvSpPr>
          <p:cNvPr id="17" name="Заголовок 17">
            <a:extLst>
              <a:ext uri="{FF2B5EF4-FFF2-40B4-BE49-F238E27FC236}">
                <a16:creationId xmlns:a16="http://schemas.microsoft.com/office/drawing/2014/main" id="{34070FCF-8B05-8C46-817E-AE4CEBE76AF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BCA47523-D8F1-694C-96ED-F2DF28D7E4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116" y="2266581"/>
            <a:ext cx="2439781" cy="1083458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Внутренняя коммуникация «Ростелекома-Солар», вероятно, должна быть более нейтральной и спокойной. 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B7F11DE-E0EF-B14E-9C71-A45EA4883224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292460" y="2271144"/>
            <a:ext cx="2439781" cy="1083458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Внутренняя коммуникация «Ростелекома-Солар», вероятно, должна быть более нейтральной и спокойной. 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106AD194-77AF-D74B-B7EA-7088EF6C570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154805" y="2275710"/>
            <a:ext cx="2439780" cy="1083458"/>
          </a:xfrm>
          <a:prstGeom prst="rect">
            <a:avLst/>
          </a:prstGeom>
        </p:spPr>
        <p:txBody>
          <a:bodyPr lIns="0" tIns="90000">
            <a:noAutofit/>
          </a:bodyPr>
          <a:lstStyle>
            <a:lvl1pPr>
              <a:defRPr lang="ru-RU" sz="1200" b="0" i="0" dirty="0">
                <a:latin typeface="Rostelecom Basis" panose="020B0503030604040103" pitchFamily="34" charset="0"/>
              </a:defRPr>
            </a:lvl1pPr>
          </a:lstStyle>
          <a:p>
            <a:pPr marL="0" lvl="0" indent="0">
              <a:lnSpc>
                <a:spcPct val="130000"/>
              </a:lnSpc>
              <a:buNone/>
            </a:pPr>
            <a:r>
              <a:rPr lang="ru-RU" dirty="0"/>
              <a:t>Внутренняя коммуникация «Ростелекома-Солар», вероятно, должна быть более нейтральной и спокойной. </a:t>
            </a: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25" name="TextBox 24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71922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EC35377-6FFC-40C5-8C38-738E4C35F89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0115" y="2700979"/>
            <a:ext cx="3453761" cy="414044"/>
          </a:xfrm>
          <a:prstGeom prst="rect">
            <a:avLst/>
          </a:prstGeom>
        </p:spPr>
        <p:txBody>
          <a:bodyPr wrap="square" lIns="0" tIns="90000">
            <a:spAutoFit/>
          </a:bodyPr>
          <a:lstStyle>
            <a:lvl1pPr marL="0" indent="0">
              <a:lnSpc>
                <a:spcPct val="100000"/>
              </a:lnSpc>
              <a:buNone/>
              <a:defRPr sz="1800" b="0" i="0"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Константин Константинов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E8A2625-C07A-4B3A-B57C-9F8552CC961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0115" y="3117578"/>
            <a:ext cx="3014704" cy="415498"/>
          </a:xfrm>
          <a:prstGeom prst="rect">
            <a:avLst/>
          </a:prstGeom>
        </p:spPr>
        <p:txBody>
          <a:bodyPr wrap="square" lIns="0" tIns="0">
            <a:spAutoFit/>
          </a:bodyPr>
          <a:lstStyle>
            <a:lvl1pPr marL="0" indent="0">
              <a:lnSpc>
                <a:spcPct val="100000"/>
              </a:lnSpc>
              <a:buNone/>
              <a:defRPr lang="ru-RU" sz="1200" b="0" i="0" kern="1200" dirty="0">
                <a:solidFill>
                  <a:schemeClr val="tx1"/>
                </a:solidFill>
                <a:latin typeface="Rostelecom Basis" panose="020B0503030604040103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Старший специалист по упаковке рождественских подарков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B2FC4F77-BB3B-4549-B145-6F14EBE2D83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732112" y="2705546"/>
            <a:ext cx="3453761" cy="414044"/>
          </a:xfrm>
          <a:prstGeom prst="rect">
            <a:avLst/>
          </a:prstGeom>
        </p:spPr>
        <p:txBody>
          <a:bodyPr wrap="square" lIns="0" tIns="90000">
            <a:spAutoFit/>
          </a:bodyPr>
          <a:lstStyle>
            <a:lvl1pPr marL="0" indent="0">
              <a:lnSpc>
                <a:spcPct val="100000"/>
              </a:lnSpc>
              <a:buNone/>
              <a:defRPr sz="1800" b="0" i="0"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Анастасия Анастасьева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64CF0B9A-CF3D-4796-9ADF-F627118A734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2111" y="3122145"/>
            <a:ext cx="3815065" cy="415498"/>
          </a:xfrm>
          <a:prstGeom prst="rect">
            <a:avLst/>
          </a:prstGeom>
        </p:spPr>
        <p:txBody>
          <a:bodyPr wrap="square" lIns="0" tIns="0">
            <a:spAutoFit/>
          </a:bodyPr>
          <a:lstStyle>
            <a:lvl1pPr marL="0" indent="0">
              <a:lnSpc>
                <a:spcPct val="100000"/>
              </a:lnSpc>
              <a:buNone/>
              <a:defRPr lang="ru-RU" sz="1200" b="0" i="0" kern="1200" dirty="0">
                <a:solidFill>
                  <a:schemeClr val="tx1"/>
                </a:solidFill>
                <a:latin typeface="Rostelecom Basis" panose="020B0503030604040103" pitchFamily="34" charset="0"/>
                <a:ea typeface="+mn-ea"/>
                <a:cs typeface="+mn-cs"/>
              </a:defRPr>
            </a:lvl1pPr>
          </a:lstStyle>
          <a:p>
            <a:pPr lvl="0"/>
            <a:r>
              <a:rPr lang="ru-RU" dirty="0"/>
              <a:t>Младший помощник старшего специалиста по упаковке рождественских подарков</a:t>
            </a:r>
          </a:p>
        </p:txBody>
      </p:sp>
      <p:sp>
        <p:nvSpPr>
          <p:cNvPr id="14" name="Рисунок 2">
            <a:extLst>
              <a:ext uri="{FF2B5EF4-FFF2-40B4-BE49-F238E27FC236}">
                <a16:creationId xmlns:a16="http://schemas.microsoft.com/office/drawing/2014/main" id="{94A5D958-DC17-F34A-8350-8BE40500459D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59322" y="1330849"/>
            <a:ext cx="1116752" cy="111855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ru-RU" dirty="0"/>
              <a:t>Добавьте фото</a:t>
            </a:r>
          </a:p>
        </p:txBody>
      </p:sp>
      <p:sp>
        <p:nvSpPr>
          <p:cNvPr id="20" name="Рисунок 2">
            <a:extLst>
              <a:ext uri="{FF2B5EF4-FFF2-40B4-BE49-F238E27FC236}">
                <a16:creationId xmlns:a16="http://schemas.microsoft.com/office/drawing/2014/main" id="{DEEB905D-6119-9C48-9CC9-EFC9769AC711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4732111" y="1330849"/>
            <a:ext cx="1116752" cy="111855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900"/>
            </a:lvl1pPr>
          </a:lstStyle>
          <a:p>
            <a:r>
              <a:rPr lang="ru-RU" dirty="0"/>
              <a:t>Добавьте фото</a:t>
            </a:r>
          </a:p>
        </p:txBody>
      </p:sp>
      <p:sp>
        <p:nvSpPr>
          <p:cNvPr id="12" name="Заголовок 17">
            <a:extLst>
              <a:ext uri="{FF2B5EF4-FFF2-40B4-BE49-F238E27FC236}">
                <a16:creationId xmlns:a16="http://schemas.microsoft.com/office/drawing/2014/main" id="{1AADF589-483D-1C4C-A59F-8FAFB45F22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7153223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E7DFDE3-107D-4511-B8CB-266163CE15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572000" y="0"/>
            <a:ext cx="4573588" cy="5145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2AF17E00-C7AB-4A73-95D4-DDE59043FB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104" y="1627860"/>
            <a:ext cx="3268191" cy="1887781"/>
          </a:xfrm>
          <a:prstGeom prst="rect">
            <a:avLst/>
          </a:prstGeom>
        </p:spPr>
        <p:txBody>
          <a:bodyPr wrap="square" lIns="0" tIns="90000">
            <a:spAutoFit/>
          </a:bodyPr>
          <a:lstStyle>
            <a:lvl1pPr marL="285750" indent="-285750">
              <a:lnSpc>
                <a:spcPct val="100000"/>
              </a:lnSpc>
              <a:buClr>
                <a:srgbClr val="FF8218"/>
              </a:buClr>
              <a:buFont typeface="Arial" panose="020B0604020202020204" pitchFamily="34" charset="0"/>
              <a:buChar char="•"/>
              <a:defRPr sz="1800" b="0" i="0">
                <a:latin typeface="Rostelecom Basis" panose="020B0503030604040103" pitchFamily="34" charset="0"/>
              </a:defRPr>
            </a:lvl1pPr>
            <a:lvl2pPr marL="685800" indent="-228600">
              <a:buFont typeface="Basis Grotesque Pro Medium" panose="02000603030000020004" pitchFamily="50" charset="0"/>
              <a:buChar char="−"/>
              <a:defRPr sz="1400">
                <a:latin typeface="Rostelecom Basis" panose="020B0604020202020204" charset="0"/>
              </a:defRPr>
            </a:lvl2pPr>
          </a:lstStyle>
          <a:p>
            <a:pPr lvl="0"/>
            <a:r>
              <a:rPr lang="ru-RU" dirty="0"/>
              <a:t>Первая опция</a:t>
            </a:r>
          </a:p>
          <a:p>
            <a:pPr lvl="0"/>
            <a:r>
              <a:rPr lang="ru-RU" dirty="0"/>
              <a:t>Вторая опция</a:t>
            </a:r>
          </a:p>
          <a:p>
            <a:pPr lvl="0"/>
            <a:r>
              <a:rPr lang="ru-RU" dirty="0"/>
              <a:t>Третья опция</a:t>
            </a:r>
          </a:p>
          <a:p>
            <a:pPr lvl="0"/>
            <a:r>
              <a:rPr lang="ru-RU" dirty="0"/>
              <a:t>Четвертая опция</a:t>
            </a:r>
            <a:endParaRPr lang="en-US" dirty="0"/>
          </a:p>
          <a:p>
            <a:pPr lvl="1"/>
            <a:r>
              <a:rPr lang="ru-RU" dirty="0"/>
              <a:t>пояснение</a:t>
            </a:r>
            <a:endParaRPr lang="en-US" dirty="0"/>
          </a:p>
        </p:txBody>
      </p:sp>
      <p:sp>
        <p:nvSpPr>
          <p:cNvPr id="14" name="Заголовок 17">
            <a:extLst>
              <a:ext uri="{FF2B5EF4-FFF2-40B4-BE49-F238E27FC236}">
                <a16:creationId xmlns:a16="http://schemas.microsoft.com/office/drawing/2014/main" id="{2AE2FA18-0952-694B-A56A-B4966255DE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5" name="TextBox 14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598283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7A433BFB-4227-4636-BAD8-A7867001BEB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5788640" y="0"/>
            <a:ext cx="3356947" cy="5145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  <a:p>
            <a:endParaRPr lang="ru-RU" dirty="0"/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52EBDB49-F5EC-3C41-926A-83AB7D978B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раздел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AF17E00-C7AB-4A73-95D4-DDE59043FBA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5104" y="1627860"/>
            <a:ext cx="3268191" cy="1887781"/>
          </a:xfrm>
          <a:prstGeom prst="rect">
            <a:avLst/>
          </a:prstGeom>
        </p:spPr>
        <p:txBody>
          <a:bodyPr wrap="square" lIns="0" tIns="90000">
            <a:spAutoFit/>
          </a:bodyPr>
          <a:lstStyle>
            <a:lvl1pPr marL="285750" indent="-285750">
              <a:lnSpc>
                <a:spcPct val="100000"/>
              </a:lnSpc>
              <a:buClr>
                <a:srgbClr val="FF8218"/>
              </a:buClr>
              <a:buFont typeface="Arial" panose="020B0604020202020204" pitchFamily="34" charset="0"/>
              <a:buChar char="•"/>
              <a:defRPr sz="1800" b="0" i="0">
                <a:latin typeface="Rostelecom Basis" panose="020B0503030604040103" pitchFamily="34" charset="0"/>
              </a:defRPr>
            </a:lvl1pPr>
            <a:lvl2pPr marL="685800" indent="-228600">
              <a:buFont typeface="Basis Grotesque Pro Medium" panose="02000603030000020004" pitchFamily="50" charset="0"/>
              <a:buChar char="−"/>
              <a:defRPr sz="1400">
                <a:latin typeface="Rostelecom Basis" panose="020B0604020202020204" charset="0"/>
              </a:defRPr>
            </a:lvl2pPr>
          </a:lstStyle>
          <a:p>
            <a:pPr lvl="0"/>
            <a:r>
              <a:rPr lang="ru-RU" dirty="0"/>
              <a:t>Первая опция</a:t>
            </a:r>
          </a:p>
          <a:p>
            <a:pPr lvl="0"/>
            <a:r>
              <a:rPr lang="ru-RU" dirty="0"/>
              <a:t>Вторая опция</a:t>
            </a:r>
          </a:p>
          <a:p>
            <a:pPr lvl="0"/>
            <a:r>
              <a:rPr lang="ru-RU" dirty="0"/>
              <a:t>Третья опция</a:t>
            </a:r>
          </a:p>
          <a:p>
            <a:pPr lvl="0"/>
            <a:r>
              <a:rPr lang="ru-RU" dirty="0"/>
              <a:t>Четвертая опция</a:t>
            </a:r>
          </a:p>
          <a:p>
            <a:pPr lvl="1"/>
            <a:r>
              <a:rPr lang="ru-RU" dirty="0"/>
              <a:t>пояснение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97064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60471E8C-C37E-41C7-8D4F-AB3BF500F6D6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800" y="0"/>
            <a:ext cx="4572788" cy="5145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latin typeface="+mj-lt"/>
              </a:defRPr>
            </a:lvl1pPr>
          </a:lstStyle>
          <a:p>
            <a:endParaRPr lang="ru-RU" dirty="0"/>
          </a:p>
          <a:p>
            <a:endParaRPr lang="ru-RU" dirty="0"/>
          </a:p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0" name="Заголовок 17">
            <a:extLst>
              <a:ext uri="{FF2B5EF4-FFF2-40B4-BE49-F238E27FC236}">
                <a16:creationId xmlns:a16="http://schemas.microsoft.com/office/drawing/2014/main" id="{99DFE334-2E71-C242-9953-F8B6423EC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онтакты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5081727A-2C0D-479E-BE07-8D2201F9EB7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5104" y="1884961"/>
            <a:ext cx="2555262" cy="31854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Центральный офис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AD3E0B2-5BAF-4869-8191-A527EE22499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104" y="2674215"/>
            <a:ext cx="2563022" cy="33239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>
                <a:solidFill>
                  <a:schemeClr val="tx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+7 (499) </a:t>
            </a:r>
            <a:r>
              <a:rPr lang="en-US" dirty="0"/>
              <a:t>755</a:t>
            </a:r>
            <a:r>
              <a:rPr lang="ru-RU" dirty="0"/>
              <a:t>-</a:t>
            </a:r>
            <a:r>
              <a:rPr lang="en-US" dirty="0"/>
              <a:t>07</a:t>
            </a:r>
            <a:r>
              <a:rPr lang="ru-RU" dirty="0"/>
              <a:t>-</a:t>
            </a:r>
            <a:r>
              <a:rPr lang="en-US" dirty="0"/>
              <a:t>70</a:t>
            </a:r>
            <a:endParaRPr lang="ru-RU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7084BB5-6F13-489D-B5F7-8EBCBAA8A71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5104" y="2985399"/>
            <a:ext cx="2563022" cy="33239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>
                <a:solidFill>
                  <a:srgbClr val="FF8218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en-US" dirty="0"/>
              <a:t>info@rt-solar.ru</a:t>
            </a:r>
            <a:endParaRPr lang="ru-RU" dirty="0"/>
          </a:p>
        </p:txBody>
      </p:sp>
      <p:sp>
        <p:nvSpPr>
          <p:cNvPr id="27" name="Text Placeholder 22">
            <a:extLst>
              <a:ext uri="{FF2B5EF4-FFF2-40B4-BE49-F238E27FC236}">
                <a16:creationId xmlns:a16="http://schemas.microsoft.com/office/drawing/2014/main" id="{CC504121-A9AD-E442-8756-28B0540599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04" y="2192401"/>
            <a:ext cx="3246438" cy="54168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125009 г. Москва, </a:t>
            </a:r>
            <a:br>
              <a:rPr lang="ru-RU" dirty="0"/>
            </a:br>
            <a:r>
              <a:rPr lang="ru-RU" dirty="0"/>
              <a:t>Никитский переулок, 7с1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3123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5E365E7D-D762-476B-BED8-181F6A680F5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356960" y="0"/>
            <a:ext cx="5788628" cy="5145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latin typeface="+mj-lt"/>
              </a:defRPr>
            </a:lvl1pPr>
          </a:lstStyle>
          <a:p>
            <a:endParaRPr lang="ru-RU" dirty="0"/>
          </a:p>
          <a:p>
            <a:endParaRPr lang="ru-RU" dirty="0"/>
          </a:p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59014BB5-332E-4D4A-912A-92575A945A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5104" y="1884961"/>
            <a:ext cx="2555262" cy="31854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Центральный офис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19BEFA-8F46-2D4F-9845-0ED7B08AFB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104" y="2674215"/>
            <a:ext cx="2563022" cy="31854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>
                <a:solidFill>
                  <a:schemeClr val="tx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+7 (499) </a:t>
            </a:r>
            <a:r>
              <a:rPr lang="en-US" dirty="0"/>
              <a:t>755</a:t>
            </a:r>
            <a:r>
              <a:rPr lang="ru-RU" dirty="0"/>
              <a:t>-</a:t>
            </a:r>
            <a:r>
              <a:rPr lang="en-US" dirty="0"/>
              <a:t>07</a:t>
            </a:r>
            <a:r>
              <a:rPr lang="ru-RU" dirty="0"/>
              <a:t>-</a:t>
            </a:r>
            <a:r>
              <a:rPr lang="en-US" dirty="0"/>
              <a:t>70</a:t>
            </a:r>
            <a:endParaRPr lang="ru-RU" dirty="0"/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CC504121-A9AD-E442-8756-28B0540599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04" y="2192401"/>
            <a:ext cx="3246438" cy="54168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16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125009 г. Москва, </a:t>
            </a:r>
            <a:br>
              <a:rPr lang="en-US" dirty="0"/>
            </a:br>
            <a:r>
              <a:rPr lang="ru-RU" dirty="0"/>
              <a:t>Никитский переулок, 7с1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C4C1EF0-6F07-7F41-8A90-FD91995FE4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5104" y="2985399"/>
            <a:ext cx="2563022" cy="33239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>
                <a:solidFill>
                  <a:srgbClr val="FF8218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en-US" dirty="0"/>
              <a:t>info@rt-solar.ru</a:t>
            </a:r>
            <a:endParaRPr lang="ru-RU" dirty="0"/>
          </a:p>
        </p:txBody>
      </p:sp>
      <p:sp>
        <p:nvSpPr>
          <p:cNvPr id="15" name="Заголовок 17">
            <a:extLst>
              <a:ext uri="{FF2B5EF4-FFF2-40B4-BE49-F238E27FC236}">
                <a16:creationId xmlns:a16="http://schemas.microsoft.com/office/drawing/2014/main" id="{0D7654A2-31BB-AF4B-BFD0-3F939EC664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онтакты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57270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DB359433-4E10-4A5C-97A7-B5EC5BF3942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321586" y="-1"/>
            <a:ext cx="5822414" cy="5144400"/>
          </a:xfrm>
          <a:custGeom>
            <a:avLst/>
            <a:gdLst>
              <a:gd name="connsiteX0" fmla="*/ 0 w 5822414"/>
              <a:gd name="connsiteY0" fmla="*/ 0 h 5144400"/>
              <a:gd name="connsiteX1" fmla="*/ 5822414 w 5822414"/>
              <a:gd name="connsiteY1" fmla="*/ 0 h 5144400"/>
              <a:gd name="connsiteX2" fmla="*/ 5822414 w 5822414"/>
              <a:gd name="connsiteY2" fmla="*/ 5144400 h 5144400"/>
              <a:gd name="connsiteX3" fmla="*/ 0 w 5822414"/>
              <a:gd name="connsiteY3" fmla="*/ 5144400 h 5144400"/>
              <a:gd name="connsiteX4" fmla="*/ 0 w 5822414"/>
              <a:gd name="connsiteY4" fmla="*/ 0 h 5144400"/>
              <a:gd name="connsiteX0" fmla="*/ 2440236 w 5822414"/>
              <a:gd name="connsiteY0" fmla="*/ 0 h 5144400"/>
              <a:gd name="connsiteX1" fmla="*/ 5822414 w 5822414"/>
              <a:gd name="connsiteY1" fmla="*/ 0 h 5144400"/>
              <a:gd name="connsiteX2" fmla="*/ 5822414 w 5822414"/>
              <a:gd name="connsiteY2" fmla="*/ 5144400 h 5144400"/>
              <a:gd name="connsiteX3" fmla="*/ 0 w 5822414"/>
              <a:gd name="connsiteY3" fmla="*/ 5144400 h 5144400"/>
              <a:gd name="connsiteX4" fmla="*/ 2440236 w 5822414"/>
              <a:gd name="connsiteY4" fmla="*/ 0 h 514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22414" h="5144400">
                <a:moveTo>
                  <a:pt x="2440236" y="0"/>
                </a:moveTo>
                <a:lnTo>
                  <a:pt x="5822414" y="0"/>
                </a:lnTo>
                <a:lnTo>
                  <a:pt x="5822414" y="5144400"/>
                </a:lnTo>
                <a:lnTo>
                  <a:pt x="0" y="5144400"/>
                </a:lnTo>
                <a:lnTo>
                  <a:pt x="2440236" y="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b" anchorCtr="1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 b="0">
                <a:latin typeface="+mj-lt"/>
              </a:defRPr>
            </a:lvl1pPr>
          </a:lstStyle>
          <a:p>
            <a:endParaRPr lang="ru-RU" dirty="0"/>
          </a:p>
          <a:p>
            <a:endParaRPr lang="ru-RU" dirty="0"/>
          </a:p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2" name="Прямоугольник 6">
            <a:extLst>
              <a:ext uri="{FF2B5EF4-FFF2-40B4-BE49-F238E27FC236}">
                <a16:creationId xmlns:a16="http://schemas.microsoft.com/office/drawing/2014/main" id="{7290771B-ADD7-4C70-A644-E644C64C3698}"/>
              </a:ext>
            </a:extLst>
          </p:cNvPr>
          <p:cNvSpPr/>
          <p:nvPr userDrawn="1"/>
        </p:nvSpPr>
        <p:spPr>
          <a:xfrm>
            <a:off x="1" y="0"/>
            <a:ext cx="5779243" cy="5144400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3966905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69152" h="6869153">
                <a:moveTo>
                  <a:pt x="0" y="0"/>
                </a:moveTo>
                <a:lnTo>
                  <a:pt x="6869152" y="0"/>
                </a:lnTo>
                <a:lnTo>
                  <a:pt x="3966905" y="6869153"/>
                </a:lnTo>
                <a:lnTo>
                  <a:pt x="0" y="6869152"/>
                </a:lnTo>
                <a:lnTo>
                  <a:pt x="0" y="0"/>
                </a:lnTo>
                <a:close/>
              </a:path>
            </a:pathLst>
          </a:custGeom>
          <a:solidFill>
            <a:srgbClr val="001C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20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онтакты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59014BB5-332E-4D4A-912A-92575A945A6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5104" y="1884961"/>
            <a:ext cx="2555262" cy="33239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Центральный офис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D519BEFA-8F46-2D4F-9845-0ED7B08AFB9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5104" y="2674215"/>
            <a:ext cx="2563022" cy="31854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+7 (499) </a:t>
            </a:r>
            <a:r>
              <a:rPr lang="en-US" dirty="0"/>
              <a:t>755</a:t>
            </a:r>
            <a:r>
              <a:rPr lang="ru-RU" dirty="0"/>
              <a:t>-</a:t>
            </a:r>
            <a:r>
              <a:rPr lang="en-US" dirty="0"/>
              <a:t>07</a:t>
            </a:r>
            <a:r>
              <a:rPr lang="ru-RU" dirty="0"/>
              <a:t>-</a:t>
            </a:r>
            <a:r>
              <a:rPr lang="en-US" dirty="0"/>
              <a:t>70</a:t>
            </a:r>
            <a:endParaRPr lang="ru-RU" dirty="0"/>
          </a:p>
        </p:txBody>
      </p:sp>
      <p:sp>
        <p:nvSpPr>
          <p:cNvPr id="13" name="Text Placeholder 22">
            <a:extLst>
              <a:ext uri="{FF2B5EF4-FFF2-40B4-BE49-F238E27FC236}">
                <a16:creationId xmlns:a16="http://schemas.microsoft.com/office/drawing/2014/main" id="{CC504121-A9AD-E442-8756-28B0540599D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5104" y="2192401"/>
            <a:ext cx="3246438" cy="54168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125009 г. Москва, </a:t>
            </a:r>
            <a:br>
              <a:rPr lang="ru-RU" dirty="0"/>
            </a:br>
            <a:r>
              <a:rPr lang="ru-RU" dirty="0"/>
              <a:t>Никитский переулок, 7с1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C4C1EF0-6F07-7F41-8A90-FD91995FE4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5104" y="2985399"/>
            <a:ext cx="2563022" cy="33239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marR="0" indent="0" algn="l" defTabSz="914400" rtl="0" eaLnBrk="1" fontAlgn="auto" latinLnBrk="0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 b="0" i="0">
                <a:solidFill>
                  <a:srgbClr val="FF8218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en-US" dirty="0"/>
              <a:t>info@rt-solar.ru </a:t>
            </a:r>
            <a:endParaRPr lang="ru-RU" dirty="0"/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493806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9184933" cy="5149272"/>
          </a:xfrm>
          <a:prstGeom prst="rect">
            <a:avLst/>
          </a:prstGeom>
        </p:spPr>
      </p:pic>
      <p:sp>
        <p:nvSpPr>
          <p:cNvPr id="4" name="Прямоугольник 6">
            <a:extLst>
              <a:ext uri="{FF2B5EF4-FFF2-40B4-BE49-F238E27FC236}">
                <a16:creationId xmlns:a16="http://schemas.microsoft.com/office/drawing/2014/main" id="{7290771B-ADD7-4C70-A644-E644C64C3698}"/>
              </a:ext>
            </a:extLst>
          </p:cNvPr>
          <p:cNvSpPr/>
          <p:nvPr userDrawn="1"/>
        </p:nvSpPr>
        <p:spPr>
          <a:xfrm>
            <a:off x="1" y="0"/>
            <a:ext cx="5779243" cy="5144400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3966905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69152" h="6869153">
                <a:moveTo>
                  <a:pt x="0" y="0"/>
                </a:moveTo>
                <a:lnTo>
                  <a:pt x="6869152" y="0"/>
                </a:lnTo>
                <a:lnTo>
                  <a:pt x="3966905" y="6869153"/>
                </a:lnTo>
                <a:lnTo>
                  <a:pt x="0" y="6869152"/>
                </a:lnTo>
                <a:lnTo>
                  <a:pt x="0" y="0"/>
                </a:lnTo>
                <a:close/>
              </a:path>
            </a:pathLst>
          </a:custGeom>
          <a:solidFill>
            <a:srgbClr val="001C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Контакты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  <p:sp>
        <p:nvSpPr>
          <p:cNvPr id="12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1911597"/>
            <a:ext cx="3249332" cy="26314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sz="1200" dirty="0"/>
              <a:t>Центральный офис</a:t>
            </a:r>
          </a:p>
        </p:txBody>
      </p:sp>
      <p:sp>
        <p:nvSpPr>
          <p:cNvPr id="13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2185583"/>
            <a:ext cx="3249332" cy="541687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sz="1600" dirty="0"/>
              <a:t>125009 г. Москва, </a:t>
            </a:r>
            <a:br>
              <a:rPr lang="ru-RU" sz="1600" dirty="0"/>
            </a:br>
            <a:r>
              <a:rPr lang="ru-RU" sz="1600" dirty="0"/>
              <a:t>Никитский переулок, 7с1</a:t>
            </a:r>
          </a:p>
        </p:txBody>
      </p:sp>
      <p:sp>
        <p:nvSpPr>
          <p:cNvPr id="14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2739637"/>
            <a:ext cx="3249332" cy="26314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sz="1200" dirty="0"/>
              <a:t>+7 (499) 755-07-70</a:t>
            </a:r>
          </a:p>
        </p:txBody>
      </p:sp>
      <p:sp>
        <p:nvSpPr>
          <p:cNvPr id="15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3038013"/>
            <a:ext cx="3249332" cy="26314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en-US" sz="1200" dirty="0">
                <a:solidFill>
                  <a:srgbClr val="FF8218"/>
                </a:solidFill>
              </a:rPr>
              <a:t>info@rt-solar.ru </a:t>
            </a:r>
          </a:p>
        </p:txBody>
      </p:sp>
    </p:spTree>
    <p:extLst>
      <p:ext uri="{BB962C8B-B14F-4D97-AF65-F5344CB8AC3E}">
        <p14:creationId xmlns:p14="http://schemas.microsoft.com/office/powerpoint/2010/main" val="1362236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7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31557" y="2"/>
            <a:ext cx="5812443" cy="5143499"/>
          </a:xfrm>
          <a:prstGeom prst="rect">
            <a:avLst/>
          </a:prstGeom>
        </p:spPr>
      </p:pic>
      <p:sp>
        <p:nvSpPr>
          <p:cNvPr id="11" name="Прямоугольник 6">
            <a:extLst>
              <a:ext uri="{FF2B5EF4-FFF2-40B4-BE49-F238E27FC236}">
                <a16:creationId xmlns:a16="http://schemas.microsoft.com/office/drawing/2014/main" id="{4CF3D02A-AF50-4BAC-B3BA-DB6BA1BFBD8C}"/>
              </a:ext>
            </a:extLst>
          </p:cNvPr>
          <p:cNvSpPr/>
          <p:nvPr userDrawn="1"/>
        </p:nvSpPr>
        <p:spPr>
          <a:xfrm>
            <a:off x="0" y="-261"/>
            <a:ext cx="6368494" cy="5143761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371493 w 6869152"/>
              <a:gd name="connsiteY2" fmla="*/ 685800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7632391"/>
              <a:gd name="connsiteY0" fmla="*/ 0 h 6869152"/>
              <a:gd name="connsiteX1" fmla="*/ 7632391 w 7632391"/>
              <a:gd name="connsiteY1" fmla="*/ 11151 h 6869152"/>
              <a:gd name="connsiteX2" fmla="*/ 5371493 w 7632391"/>
              <a:gd name="connsiteY2" fmla="*/ 6858002 h 6869152"/>
              <a:gd name="connsiteX3" fmla="*/ 0 w 7632391"/>
              <a:gd name="connsiteY3" fmla="*/ 6869152 h 6869152"/>
              <a:gd name="connsiteX4" fmla="*/ 0 w 7632391"/>
              <a:gd name="connsiteY4" fmla="*/ 0 h 6869152"/>
              <a:gd name="connsiteX0" fmla="*/ 0 w 7629198"/>
              <a:gd name="connsiteY0" fmla="*/ 0 h 6869152"/>
              <a:gd name="connsiteX1" fmla="*/ 7629198 w 7629198"/>
              <a:gd name="connsiteY1" fmla="*/ 21754 h 6869152"/>
              <a:gd name="connsiteX2" fmla="*/ 5371493 w 7629198"/>
              <a:gd name="connsiteY2" fmla="*/ 6858002 h 6869152"/>
              <a:gd name="connsiteX3" fmla="*/ 0 w 7629198"/>
              <a:gd name="connsiteY3" fmla="*/ 6869152 h 6869152"/>
              <a:gd name="connsiteX4" fmla="*/ 0 w 7629198"/>
              <a:gd name="connsiteY4" fmla="*/ 0 h 6869152"/>
              <a:gd name="connsiteX0" fmla="*/ 31928 w 7629198"/>
              <a:gd name="connsiteY0" fmla="*/ 2065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1928 w 7629198"/>
              <a:gd name="connsiteY4" fmla="*/ 20655 h 6847398"/>
              <a:gd name="connsiteX0" fmla="*/ 0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0 w 7629198"/>
              <a:gd name="connsiteY4" fmla="*/ 2985 h 6847398"/>
              <a:gd name="connsiteX0" fmla="*/ 34766 w 7629198"/>
              <a:gd name="connsiteY0" fmla="*/ 31848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4766 w 7629198"/>
              <a:gd name="connsiteY4" fmla="*/ 31848 h 6847398"/>
              <a:gd name="connsiteX0" fmla="*/ 2897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2897 w 7629198"/>
              <a:gd name="connsiteY4" fmla="*/ 2985 h 6847398"/>
              <a:gd name="connsiteX0" fmla="*/ 19 w 7626320"/>
              <a:gd name="connsiteY0" fmla="*/ 2985 h 6836248"/>
              <a:gd name="connsiteX1" fmla="*/ 7626320 w 7626320"/>
              <a:gd name="connsiteY1" fmla="*/ 0 h 6836248"/>
              <a:gd name="connsiteX2" fmla="*/ 5368615 w 7626320"/>
              <a:gd name="connsiteY2" fmla="*/ 6836248 h 6836248"/>
              <a:gd name="connsiteX3" fmla="*/ 34785 w 7626320"/>
              <a:gd name="connsiteY3" fmla="*/ 6786467 h 6836248"/>
              <a:gd name="connsiteX4" fmla="*/ 19 w 7626320"/>
              <a:gd name="connsiteY4" fmla="*/ 2985 h 6836248"/>
              <a:gd name="connsiteX0" fmla="*/ 278 w 7626579"/>
              <a:gd name="connsiteY0" fmla="*/ 2985 h 6836248"/>
              <a:gd name="connsiteX1" fmla="*/ 7626579 w 7626579"/>
              <a:gd name="connsiteY1" fmla="*/ 0 h 6836248"/>
              <a:gd name="connsiteX2" fmla="*/ 5368874 w 7626579"/>
              <a:gd name="connsiteY2" fmla="*/ 6836248 h 6836248"/>
              <a:gd name="connsiteX3" fmla="*/ 278 w 7626579"/>
              <a:gd name="connsiteY3" fmla="*/ 6818536 h 6836248"/>
              <a:gd name="connsiteX4" fmla="*/ 278 w 7626579"/>
              <a:gd name="connsiteY4" fmla="*/ 2985 h 6836248"/>
              <a:gd name="connsiteX0" fmla="*/ 278 w 7626579"/>
              <a:gd name="connsiteY0" fmla="*/ 2985 h 6818536"/>
              <a:gd name="connsiteX1" fmla="*/ 7626579 w 7626579"/>
              <a:gd name="connsiteY1" fmla="*/ 0 h 6818536"/>
              <a:gd name="connsiteX2" fmla="*/ 5368874 w 7626579"/>
              <a:gd name="connsiteY2" fmla="*/ 6817007 h 6818536"/>
              <a:gd name="connsiteX3" fmla="*/ 278 w 7626579"/>
              <a:gd name="connsiteY3" fmla="*/ 6818536 h 6818536"/>
              <a:gd name="connsiteX4" fmla="*/ 278 w 7626579"/>
              <a:gd name="connsiteY4" fmla="*/ 2985 h 681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2753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7449E508-9816-4CBE-AE42-475D8AA060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B30F1-71AC-483A-82D4-FC45AA9955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539484"/>
      </p:ext>
    </p:extLst>
  </p:cSld>
  <p:clrMapOvr>
    <a:masterClrMapping/>
  </p:clrMapOvr>
  <p:transition spd="med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9163050" cy="513397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0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1926837"/>
            <a:ext cx="1584196" cy="263149"/>
          </a:xfrm>
          <a:prstGeom prst="rect">
            <a:avLst/>
          </a:prstGeom>
          <a:solidFill>
            <a:srgbClr val="FF8218"/>
          </a:solidFill>
        </p:spPr>
        <p:txBody>
          <a:bodyPr wrap="square" lIns="7200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sz="1200" dirty="0">
                <a:solidFill>
                  <a:schemeClr val="bg1"/>
                </a:solidFill>
              </a:rPr>
              <a:t>Центральный офис</a:t>
            </a:r>
          </a:p>
        </p:txBody>
      </p:sp>
      <p:sp>
        <p:nvSpPr>
          <p:cNvPr id="16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2185583"/>
            <a:ext cx="2582416" cy="541687"/>
          </a:xfrm>
          <a:prstGeom prst="rect">
            <a:avLst/>
          </a:prstGeom>
          <a:solidFill>
            <a:srgbClr val="FF8218"/>
          </a:solidFill>
        </p:spPr>
        <p:txBody>
          <a:bodyPr wrap="square" lIns="7200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sz="1600" dirty="0">
                <a:solidFill>
                  <a:schemeClr val="bg1"/>
                </a:solidFill>
              </a:rPr>
              <a:t>125009 г. Москва, </a:t>
            </a:r>
            <a:br>
              <a:rPr lang="ru-RU" sz="1600" dirty="0">
                <a:solidFill>
                  <a:schemeClr val="bg1"/>
                </a:solidFill>
              </a:rPr>
            </a:br>
            <a:r>
              <a:rPr lang="ru-RU" sz="1600" dirty="0">
                <a:solidFill>
                  <a:schemeClr val="bg1"/>
                </a:solidFill>
              </a:rPr>
              <a:t>Никитский переулок, 7с1</a:t>
            </a:r>
          </a:p>
        </p:txBody>
      </p:sp>
      <p:sp>
        <p:nvSpPr>
          <p:cNvPr id="17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2724397"/>
            <a:ext cx="1706116" cy="263149"/>
          </a:xfrm>
          <a:prstGeom prst="rect">
            <a:avLst/>
          </a:prstGeom>
          <a:solidFill>
            <a:srgbClr val="FF8218"/>
          </a:solidFill>
        </p:spPr>
        <p:txBody>
          <a:bodyPr wrap="square" lIns="7200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sz="1200" dirty="0">
                <a:solidFill>
                  <a:schemeClr val="bg1"/>
                </a:solidFill>
              </a:rPr>
              <a:t>+7 (499) 755-07-70</a:t>
            </a:r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2984673"/>
            <a:ext cx="1415652" cy="263149"/>
          </a:xfrm>
          <a:prstGeom prst="rect">
            <a:avLst/>
          </a:prstGeom>
          <a:solidFill>
            <a:srgbClr val="FF8218"/>
          </a:solidFill>
        </p:spPr>
        <p:txBody>
          <a:bodyPr wrap="square" lIns="7200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en-US" sz="1200" dirty="0">
                <a:solidFill>
                  <a:schemeClr val="bg1"/>
                </a:solidFill>
              </a:rPr>
              <a:t>info@rt-solar.ru </a:t>
            </a:r>
          </a:p>
        </p:txBody>
      </p:sp>
      <p:sp>
        <p:nvSpPr>
          <p:cNvPr id="19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Контакты</a:t>
            </a:r>
          </a:p>
        </p:txBody>
      </p:sp>
    </p:spTree>
    <p:extLst>
      <p:ext uri="{BB962C8B-B14F-4D97-AF65-F5344CB8AC3E}">
        <p14:creationId xmlns:p14="http://schemas.microsoft.com/office/powerpoint/2010/main" val="206213227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1">
    <p:bg>
      <p:bgPr>
        <a:solidFill>
          <a:srgbClr val="001C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>
                <a:solidFill>
                  <a:srgbClr val="FEFEFE"/>
                </a:solidFill>
              </a:rPr>
              <a:t>‹#›</a:t>
            </a:fld>
            <a:endParaRPr lang="ru-RU" dirty="0">
              <a:solidFill>
                <a:srgbClr val="FEFEFE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435104" y="781050"/>
            <a:ext cx="8310056" cy="138499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ru-RU" sz="1200" b="0" i="0" kern="1200" dirty="0">
                <a:solidFill>
                  <a:srgbClr val="FEFEFE"/>
                </a:solidFill>
                <a:latin typeface="Rostelecom Basis" panose="020B0503030604040103" pitchFamily="34" charset="0"/>
                <a:ea typeface="+mn-ea"/>
                <a:cs typeface="+mn-cs"/>
              </a:rPr>
              <a:t>«Ростелеком-Солар», компания группы ПАО «Ростелеком» – национальный провайдер сервисов и технологий для защиты информационных активов, целевого мониторинга и управления информационной безопасностью </a:t>
            </a:r>
            <a:endParaRPr lang="en-US" sz="1200" b="0" i="0" kern="1200" dirty="0">
              <a:solidFill>
                <a:srgbClr val="FEFEFE"/>
              </a:solidFill>
              <a:latin typeface="Rostelecom Basis" panose="020B0503030604040103" pitchFamily="34" charset="0"/>
              <a:ea typeface="+mn-ea"/>
              <a:cs typeface="+mn-cs"/>
            </a:endParaRPr>
          </a:p>
          <a:p>
            <a:pPr algn="l"/>
            <a:endParaRPr lang="ru-RU" sz="1200" b="0" i="0" kern="1200" dirty="0">
              <a:solidFill>
                <a:srgbClr val="FEFEFE"/>
              </a:solidFill>
              <a:latin typeface="Rostelecom Basis" panose="020B0503030604040103" pitchFamily="34" charset="0"/>
              <a:ea typeface="+mn-ea"/>
              <a:cs typeface="+mn-cs"/>
            </a:endParaRPr>
          </a:p>
          <a:p>
            <a:pPr algn="l"/>
            <a:r>
              <a:rPr lang="ru-RU" sz="1200" b="0" i="0" kern="1200" dirty="0">
                <a:solidFill>
                  <a:srgbClr val="FEFEFE"/>
                </a:solidFill>
                <a:latin typeface="Rostelecom Basis" panose="020B0503030604040103" pitchFamily="34" charset="0"/>
                <a:ea typeface="+mn-ea"/>
                <a:cs typeface="+mn-cs"/>
              </a:rPr>
              <a:t>В основе наших технологий лежит понимание, что настоящая информационная безопасность возможна только через непрерывный мониторинг и удобное управление системами ИБ. Этот принцип реализован в продуктах и сервисах «Ростелеком-Солар»</a:t>
            </a:r>
          </a:p>
          <a:p>
            <a:pPr algn="l"/>
            <a:endParaRPr lang="ru-RU" sz="1200" b="0" dirty="0">
              <a:solidFill>
                <a:srgbClr val="FEFEFE"/>
              </a:solidFill>
              <a:latin typeface="Rostelecom Basis" panose="020B0604020202020204" charset="0"/>
            </a:endParaRPr>
          </a:p>
        </p:txBody>
      </p:sp>
      <p:sp>
        <p:nvSpPr>
          <p:cNvPr id="13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rgbClr val="FF8218"/>
                </a:solidFill>
              </a:rPr>
              <a:t>О компании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435104" y="2042489"/>
            <a:ext cx="1844546" cy="107721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ru-RU" sz="3200" b="0" dirty="0">
                <a:solidFill>
                  <a:srgbClr val="FF8218"/>
                </a:solidFill>
                <a:latin typeface="Rostelecom Basis" panose="020B0604020202020204" charset="0"/>
              </a:rPr>
              <a:t>№</a:t>
            </a:r>
            <a:r>
              <a:rPr lang="ru-RU" sz="4000" b="0" baseline="0" dirty="0">
                <a:solidFill>
                  <a:srgbClr val="FF8218"/>
                </a:solidFill>
                <a:latin typeface="Rostelecom Basis" panose="020B0604020202020204" charset="0"/>
              </a:rPr>
              <a:t>1</a:t>
            </a:r>
          </a:p>
          <a:p>
            <a:pPr algn="l"/>
            <a: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  <a:t>на рынке сервисов</a:t>
            </a:r>
          </a:p>
          <a:p>
            <a:pPr algn="l"/>
            <a: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  <a:t>кибербезопасности</a:t>
            </a:r>
            <a:endParaRPr lang="ru-RU" sz="1200" b="0" dirty="0">
              <a:solidFill>
                <a:srgbClr val="FEFEFE"/>
              </a:solidFill>
              <a:latin typeface="Rostelecom Basis" panose="020B0604020202020204" charset="0"/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3577761" y="2046031"/>
            <a:ext cx="1844546" cy="107721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ru-RU" sz="4000" b="0" dirty="0">
                <a:solidFill>
                  <a:srgbClr val="FF8218"/>
                </a:solidFill>
                <a:latin typeface="Rostelecom Basis" panose="020B0604020202020204" charset="0"/>
              </a:rPr>
              <a:t>500</a:t>
            </a:r>
            <a:r>
              <a:rPr lang="ru-RU" sz="3600" b="0" dirty="0">
                <a:solidFill>
                  <a:srgbClr val="FF8218"/>
                </a:solidFill>
                <a:latin typeface="Rostelecom Basis" panose="020B0604020202020204" charset="0"/>
              </a:rPr>
              <a:t>+</a:t>
            </a:r>
            <a:endParaRPr lang="ru-RU" sz="4000" b="0" baseline="0" dirty="0">
              <a:solidFill>
                <a:srgbClr val="FF8218"/>
              </a:solidFill>
              <a:latin typeface="Rostelecom Basis" panose="020B0604020202020204" charset="0"/>
            </a:endParaRPr>
          </a:p>
          <a:p>
            <a:pPr algn="l"/>
            <a: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  <a:t>экспертов</a:t>
            </a:r>
          </a:p>
          <a:p>
            <a:pPr algn="l"/>
            <a: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  <a:t>кибербезопасности</a:t>
            </a:r>
            <a:endParaRPr lang="ru-RU" sz="1200" b="0" dirty="0">
              <a:solidFill>
                <a:srgbClr val="FEFEFE"/>
              </a:solidFill>
              <a:latin typeface="Rostelecom Basis" panose="020B0604020202020204" charset="0"/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6720418" y="2046031"/>
            <a:ext cx="1844546" cy="107721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ru-RU" sz="4000" b="0" dirty="0">
                <a:solidFill>
                  <a:srgbClr val="FF8218"/>
                </a:solidFill>
                <a:latin typeface="Rostelecom Basis" panose="020B0604020202020204" charset="0"/>
              </a:rPr>
              <a:t>50</a:t>
            </a:r>
            <a:r>
              <a:rPr lang="ru-RU" sz="3600" b="0" dirty="0">
                <a:solidFill>
                  <a:srgbClr val="FF8218"/>
                </a:solidFill>
                <a:latin typeface="Rostelecom Basis" panose="020B0604020202020204" charset="0"/>
              </a:rPr>
              <a:t>+</a:t>
            </a:r>
            <a:endParaRPr lang="ru-RU" sz="3600" b="0" baseline="0" dirty="0">
              <a:solidFill>
                <a:srgbClr val="FF8218"/>
              </a:solidFill>
              <a:latin typeface="Rostelecom Basis" panose="020B0604020202020204" charset="0"/>
            </a:endParaRPr>
          </a:p>
          <a:p>
            <a:pPr algn="l"/>
            <a: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  <a:t>клиентов из топ-100 российского бизнеса</a:t>
            </a:r>
            <a:endParaRPr lang="ru-RU" sz="1200" b="0" dirty="0">
              <a:solidFill>
                <a:srgbClr val="FEFEFE"/>
              </a:solidFill>
              <a:latin typeface="Rostelecom Basis" panose="020B0604020202020204" charset="0"/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435104" y="3239537"/>
            <a:ext cx="1844546" cy="107721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ru-RU" sz="4000" b="0" baseline="0" dirty="0">
                <a:solidFill>
                  <a:srgbClr val="FF8218"/>
                </a:solidFill>
                <a:latin typeface="Rostelecom Basis" panose="020B0604020202020204" charset="0"/>
              </a:rPr>
              <a:t>10</a:t>
            </a:r>
            <a:r>
              <a:rPr lang="ru-RU" sz="2000" b="0" baseline="0" dirty="0">
                <a:solidFill>
                  <a:srgbClr val="FF8218"/>
                </a:solidFill>
                <a:latin typeface="Rostelecom Basis" panose="020B0604020202020204" charset="0"/>
              </a:rPr>
              <a:t>минут</a:t>
            </a:r>
            <a:endParaRPr lang="ru-RU" sz="4000" b="0" baseline="0" dirty="0">
              <a:solidFill>
                <a:srgbClr val="FF8218"/>
              </a:solidFill>
              <a:latin typeface="Rostelecom Basis" panose="020B0604020202020204" charset="0"/>
            </a:endParaRPr>
          </a:p>
          <a:p>
            <a:pPr algn="l"/>
            <a: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  <a:t>на обнаружение </a:t>
            </a:r>
            <a:r>
              <a:rPr lang="ru-RU" sz="1200" b="0" baseline="0" dirty="0" err="1">
                <a:solidFill>
                  <a:srgbClr val="FEFEFE"/>
                </a:solidFill>
                <a:latin typeface="Rostelecom Basis" panose="020B0604020202020204" charset="0"/>
              </a:rPr>
              <a:t>кибератаки</a:t>
            </a:r>
            <a:endParaRPr lang="ru-RU" sz="1200" b="0" baseline="0" dirty="0">
              <a:solidFill>
                <a:srgbClr val="FEFEFE"/>
              </a:solidFill>
              <a:latin typeface="Rostelecom Basis" panose="020B0604020202020204" charset="0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577761" y="3243079"/>
            <a:ext cx="1844546" cy="107721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kumimoji="0" lang="ru-RU" sz="4000" b="0" i="0" u="none" strike="noStrike" cap="none" spc="0" normalizeH="0" baseline="0" dirty="0">
                <a:ln>
                  <a:noFill/>
                </a:ln>
                <a:solidFill>
                  <a:srgbClr val="FF8218"/>
                </a:solidFill>
                <a:effectLst/>
                <a:uFillTx/>
                <a:latin typeface="Rostelecom Basis" panose="020B0604020202020204" charset="0"/>
                <a:ea typeface="Helvetica Neue"/>
                <a:cs typeface="Helvetica Neue"/>
                <a:sym typeface="Helvetica Neue"/>
              </a:rPr>
              <a:t>30</a:t>
            </a:r>
            <a:r>
              <a:rPr kumimoji="0" lang="ru-RU" sz="2000" b="0" i="0" u="none" strike="noStrike" cap="none" spc="0" normalizeH="0" baseline="0" dirty="0">
                <a:ln>
                  <a:noFill/>
                </a:ln>
                <a:solidFill>
                  <a:srgbClr val="FF8218"/>
                </a:solidFill>
                <a:effectLst/>
                <a:uFillTx/>
                <a:latin typeface="Rostelecom Basis" panose="020B0604020202020204" charset="0"/>
                <a:ea typeface="Helvetica Neue"/>
                <a:cs typeface="Helvetica Neue"/>
                <a:sym typeface="Helvetica Neue"/>
              </a:rPr>
              <a:t>минут</a:t>
            </a:r>
          </a:p>
          <a:p>
            <a:pPr algn="l"/>
            <a: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  <a:t>на реагирование </a:t>
            </a:r>
            <a:b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</a:br>
            <a: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  <a:t>и защиту</a:t>
            </a:r>
            <a:endParaRPr lang="ru-RU" sz="1200" b="0" dirty="0">
              <a:solidFill>
                <a:srgbClr val="FEFEFE"/>
              </a:solidFill>
              <a:latin typeface="Rostelecom Basis" panose="020B060402020202020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720418" y="3243079"/>
            <a:ext cx="1844546" cy="1077218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algn="l"/>
            <a:r>
              <a:rPr lang="ru-RU" sz="4000" b="0" dirty="0">
                <a:solidFill>
                  <a:srgbClr val="FF8218"/>
                </a:solidFill>
                <a:latin typeface="Rostelecom Basis" panose="020B0604020202020204" charset="0"/>
              </a:rPr>
              <a:t>72</a:t>
            </a:r>
            <a:r>
              <a:rPr lang="ru-RU" sz="2000" b="0" dirty="0">
                <a:solidFill>
                  <a:srgbClr val="FF8218"/>
                </a:solidFill>
                <a:latin typeface="Rostelecom Basis" panose="020B0604020202020204" charset="0"/>
              </a:rPr>
              <a:t>млрд</a:t>
            </a:r>
            <a:endParaRPr lang="ru-RU" sz="2000" b="0" baseline="0" dirty="0">
              <a:solidFill>
                <a:srgbClr val="FF8218"/>
              </a:solidFill>
              <a:latin typeface="Rostelecom Basis" panose="020B0604020202020204" charset="0"/>
            </a:endParaRPr>
          </a:p>
          <a:p>
            <a:pPr algn="l"/>
            <a: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  <a:t>анализируемых </a:t>
            </a:r>
            <a:b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</a:br>
            <a:r>
              <a:rPr lang="ru-RU" sz="1200" b="0" baseline="0" dirty="0">
                <a:solidFill>
                  <a:srgbClr val="FEFEFE"/>
                </a:solidFill>
                <a:latin typeface="Rostelecom Basis" panose="020B0604020202020204" charset="0"/>
              </a:rPr>
              <a:t>событий ИБ в сутки</a:t>
            </a:r>
            <a:endParaRPr lang="ru-RU" sz="1200" b="0" dirty="0">
              <a:solidFill>
                <a:srgbClr val="FEFEFE"/>
              </a:solidFill>
              <a:latin typeface="Rostelecom Basis" panose="020B0604020202020204" charset="0"/>
            </a:endParaRPr>
          </a:p>
        </p:txBody>
      </p:sp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75251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72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Лицензии</a:t>
            </a: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6" name="TextBox 5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435104" y="767410"/>
            <a:ext cx="8310056" cy="360868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F8218"/>
              </a:buClr>
              <a:buFont typeface="Arial" panose="020B0604020202020204" pitchFamily="34" charset="0"/>
              <a:buNone/>
            </a:pPr>
            <a:r>
              <a:rPr lang="ru-RU" sz="1400" b="0" i="0" kern="1200" dirty="0">
                <a:solidFill>
                  <a:schemeClr val="tx1"/>
                </a:solidFill>
                <a:latin typeface="Rostelecom Basis" panose="020B0503030604040103" pitchFamily="34" charset="0"/>
                <a:ea typeface="+mn-ea"/>
                <a:cs typeface="+mn-cs"/>
              </a:rPr>
              <a:t>Лицензии «Ростелеком-Солар» (компания ПАО «Ростелеком»)</a:t>
            </a:r>
          </a:p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F8218"/>
              </a:buClr>
              <a:buFont typeface="Arial" panose="020B0604020202020204" pitchFamily="34" charset="0"/>
              <a:buChar char="•"/>
            </a:pPr>
            <a:r>
              <a:rPr lang="ru-RU" sz="1400" b="0" i="0" kern="1200" dirty="0">
                <a:solidFill>
                  <a:srgbClr val="FF8218"/>
                </a:solidFill>
                <a:latin typeface="Rostelecom Basis" panose="020B0503030604040103" pitchFamily="34" charset="0"/>
                <a:ea typeface="+mn-ea"/>
                <a:cs typeface="+mn-cs"/>
              </a:rPr>
              <a:t>Минобороны России </a:t>
            </a:r>
            <a:r>
              <a:rPr lang="ru-RU" sz="1400" b="0" i="0" kern="1200" dirty="0">
                <a:solidFill>
                  <a:schemeClr val="tx1"/>
                </a:solidFill>
                <a:latin typeface="Rostelecom Basis" panose="020B0503030604040103" pitchFamily="34" charset="0"/>
                <a:ea typeface="+mn-ea"/>
                <a:cs typeface="+mn-cs"/>
              </a:rPr>
              <a:t>– на проведение работ, связанных с созданием средств защиты информации</a:t>
            </a:r>
          </a:p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F8218"/>
              </a:buClr>
              <a:buFont typeface="Arial" panose="020B0604020202020204" pitchFamily="34" charset="0"/>
              <a:buChar char="•"/>
            </a:pPr>
            <a:r>
              <a:rPr lang="ru-RU" sz="1400" b="0" i="0" kern="1200" dirty="0">
                <a:solidFill>
                  <a:srgbClr val="FF8218"/>
                </a:solidFill>
                <a:latin typeface="Rostelecom Basis" panose="020B0503030604040103" pitchFamily="34" charset="0"/>
                <a:ea typeface="+mn-ea"/>
                <a:cs typeface="+mn-cs"/>
              </a:rPr>
              <a:t>ФСБ России </a:t>
            </a:r>
            <a:r>
              <a:rPr lang="ru-RU" sz="1400" b="0" i="0" kern="1200" dirty="0">
                <a:solidFill>
                  <a:schemeClr val="tx1"/>
                </a:solidFill>
                <a:latin typeface="Rostelecom Basis" panose="020B0503030604040103" pitchFamily="34" charset="0"/>
                <a:ea typeface="+mn-ea"/>
                <a:cs typeface="+mn-cs"/>
              </a:rPr>
              <a:t>– на проведение работ, связанных с использованием сведений, составляющих государственную тайну</a:t>
            </a:r>
          </a:p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F8218"/>
              </a:buClr>
              <a:buFont typeface="Arial" panose="020B0604020202020204" pitchFamily="34" charset="0"/>
              <a:buChar char="•"/>
            </a:pPr>
            <a:r>
              <a:rPr lang="ru-RU" sz="1400" b="0" i="0" kern="1200" dirty="0">
                <a:solidFill>
                  <a:srgbClr val="FF8218"/>
                </a:solidFill>
                <a:latin typeface="Rostelecom Basis" panose="020B0503030604040103" pitchFamily="34" charset="0"/>
                <a:ea typeface="+mn-ea"/>
                <a:cs typeface="+mn-cs"/>
              </a:rPr>
              <a:t>ФСБ России </a:t>
            </a:r>
            <a:r>
              <a:rPr lang="ru-RU" sz="1400" b="0" i="0" kern="1200" dirty="0">
                <a:solidFill>
                  <a:schemeClr val="tx1"/>
                </a:solidFill>
                <a:latin typeface="Rostelecom Basis" panose="020B0503030604040103" pitchFamily="34" charset="0"/>
                <a:ea typeface="+mn-ea"/>
                <a:cs typeface="+mn-cs"/>
              </a:rPr>
              <a:t>– на разработку, производство и распространение шифровальных (криптографических) систем</a:t>
            </a:r>
          </a:p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F8218"/>
              </a:buClr>
              <a:buFont typeface="Arial" panose="020B0604020202020204" pitchFamily="34" charset="0"/>
              <a:buChar char="•"/>
            </a:pPr>
            <a:r>
              <a:rPr lang="ru-RU" sz="1400" b="0" i="0" kern="1200" dirty="0">
                <a:solidFill>
                  <a:srgbClr val="FF8218"/>
                </a:solidFill>
                <a:latin typeface="Rostelecom Basis" panose="020B0503030604040103" pitchFamily="34" charset="0"/>
                <a:ea typeface="+mn-ea"/>
                <a:cs typeface="+mn-cs"/>
              </a:rPr>
              <a:t>ФСТЭК России </a:t>
            </a:r>
            <a:r>
              <a:rPr lang="ru-RU" sz="1400" b="0" i="0" kern="1200" dirty="0">
                <a:solidFill>
                  <a:schemeClr val="tx1"/>
                </a:solidFill>
                <a:latin typeface="Rostelecom Basis" panose="020B0503030604040103" pitchFamily="34" charset="0"/>
                <a:ea typeface="+mn-ea"/>
                <a:cs typeface="+mn-cs"/>
              </a:rPr>
              <a:t>– на деятельность по технической защите конфиденциальности информации</a:t>
            </a:r>
          </a:p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F8218"/>
              </a:buClr>
              <a:buFont typeface="Arial" panose="020B0604020202020204" pitchFamily="34" charset="0"/>
              <a:buChar char="•"/>
            </a:pPr>
            <a:r>
              <a:rPr lang="ru-RU" sz="1400" b="0" i="0" kern="1200" dirty="0">
                <a:solidFill>
                  <a:srgbClr val="FF8218"/>
                </a:solidFill>
                <a:latin typeface="Rostelecom Basis" panose="020B0503030604040103" pitchFamily="34" charset="0"/>
                <a:ea typeface="+mn-ea"/>
                <a:cs typeface="+mn-cs"/>
              </a:rPr>
              <a:t>ФСТЭК России </a:t>
            </a:r>
            <a:r>
              <a:rPr lang="ru-RU" sz="1400" b="0" i="0" kern="1200" dirty="0">
                <a:solidFill>
                  <a:schemeClr val="tx1"/>
                </a:solidFill>
                <a:latin typeface="Rostelecom Basis" panose="020B0503030604040103" pitchFamily="34" charset="0"/>
                <a:ea typeface="+mn-ea"/>
                <a:cs typeface="+mn-cs"/>
              </a:rPr>
              <a:t>– на деятельность по разработке и производству средств защиты конфиденциальной информации</a:t>
            </a:r>
          </a:p>
          <a:p>
            <a:pPr marL="285750" lvl="0" indent="-28575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Clr>
                <a:srgbClr val="FF8218"/>
              </a:buClr>
              <a:buFont typeface="Arial" panose="020B0604020202020204" pitchFamily="34" charset="0"/>
              <a:buChar char="•"/>
            </a:pPr>
            <a:r>
              <a:rPr lang="ru-RU" sz="1400" b="0" i="0" kern="1200" dirty="0">
                <a:solidFill>
                  <a:schemeClr val="tx1"/>
                </a:solidFill>
                <a:latin typeface="Rostelecom Basis" panose="020B0503030604040103" pitchFamily="34" charset="0"/>
                <a:ea typeface="+mn-ea"/>
                <a:cs typeface="+mn-cs"/>
              </a:rPr>
              <a:t>Соглашение с ФСБ России в рамках </a:t>
            </a:r>
            <a:r>
              <a:rPr lang="ru-RU" sz="1400" b="0" i="0" kern="1200" dirty="0">
                <a:solidFill>
                  <a:srgbClr val="FF8218"/>
                </a:solidFill>
                <a:latin typeface="Rostelecom Basis" panose="020B0503030604040103" pitchFamily="34" charset="0"/>
                <a:ea typeface="+mn-ea"/>
                <a:cs typeface="+mn-cs"/>
              </a:rPr>
              <a:t>ГосСОПКА</a:t>
            </a:r>
            <a:r>
              <a:rPr lang="ru-RU" sz="1400" b="0" i="0" kern="1200" dirty="0">
                <a:solidFill>
                  <a:schemeClr val="tx1"/>
                </a:solidFill>
                <a:latin typeface="Rostelecom Basis" panose="020B0503030604040103" pitchFamily="34" charset="0"/>
                <a:ea typeface="+mn-ea"/>
                <a:cs typeface="+mn-cs"/>
              </a:rPr>
              <a:t> о взаимодействии по предупреждению кибератак</a:t>
            </a:r>
          </a:p>
          <a:p>
            <a:pPr algn="l"/>
            <a:endParaRPr lang="ru-RU" sz="1050" b="0" dirty="0">
              <a:solidFill>
                <a:schemeClr val="tx1"/>
              </a:solidFill>
              <a:latin typeface="Rostelecom Basis" panose="020B060402020202020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8722795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08217" y="4481733"/>
            <a:ext cx="241610" cy="408321"/>
          </a:xfrm>
          <a:prstGeom prst="rect">
            <a:avLst/>
          </a:prstGeom>
        </p:spPr>
      </p:pic>
      <p:sp>
        <p:nvSpPr>
          <p:cNvPr id="33" name="Прямоугольник 32"/>
          <p:cNvSpPr/>
          <p:nvPr userDrawn="1"/>
        </p:nvSpPr>
        <p:spPr>
          <a:xfrm>
            <a:off x="3675461" y="4617195"/>
            <a:ext cx="150079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08000"/>
              </a:buClr>
            </a:pPr>
            <a:r>
              <a:rPr lang="ru-RU" sz="900" b="0" dirty="0">
                <a:latin typeface="Rostelecom Basis" panose="020B0604020202020204" charset="0"/>
              </a:rPr>
              <a:t>ПАО «Ростелеком»</a:t>
            </a:r>
          </a:p>
        </p:txBody>
      </p:sp>
      <p:pic>
        <p:nvPicPr>
          <p:cNvPr id="34" name="Рисунок 33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53849" y="4469992"/>
            <a:ext cx="322241" cy="431802"/>
          </a:xfrm>
          <a:prstGeom prst="rect">
            <a:avLst/>
          </a:prstGeom>
        </p:spPr>
      </p:pic>
      <p:sp>
        <p:nvSpPr>
          <p:cNvPr id="35" name="Прямоугольник 34"/>
          <p:cNvSpPr/>
          <p:nvPr userDrawn="1"/>
        </p:nvSpPr>
        <p:spPr>
          <a:xfrm>
            <a:off x="5414814" y="4617195"/>
            <a:ext cx="1528036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F08000"/>
              </a:buClr>
            </a:pPr>
            <a:r>
              <a:rPr lang="ru-RU" sz="900" b="0" dirty="0">
                <a:latin typeface="Rostelecom Basis" panose="020B0604020202020204" charset="0"/>
              </a:rPr>
              <a:t>Филиалы </a:t>
            </a:r>
            <a:r>
              <a:rPr lang="en-US" sz="900" b="0" dirty="0">
                <a:latin typeface="Rostelecom Basis" panose="020B0604020202020204" charset="0"/>
              </a:rPr>
              <a:t>Solar JSOC</a:t>
            </a:r>
            <a:endParaRPr lang="ru-RU" sz="900" b="0" dirty="0">
              <a:latin typeface="Rostelecom Basis" panose="020B0604020202020204" charset="0"/>
            </a:endParaRPr>
          </a:p>
        </p:txBody>
      </p:sp>
      <p:pic>
        <p:nvPicPr>
          <p:cNvPr id="36" name="Рисунок 35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0573" y="644497"/>
            <a:ext cx="7399535" cy="3893722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9" name="TextBox 8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  <p:sp>
        <p:nvSpPr>
          <p:cNvPr id="11" name="Заголовок 17">
            <a:extLst>
              <a:ext uri="{FF2B5EF4-FFF2-40B4-BE49-F238E27FC236}">
                <a16:creationId xmlns:a16="http://schemas.microsoft.com/office/drawing/2014/main" id="{64801AC5-BB8C-7F40-8AD0-DE7AA178F417}"/>
              </a:ext>
            </a:extLst>
          </p:cNvPr>
          <p:cNvSpPr txBox="1">
            <a:spLocks/>
          </p:cNvSpPr>
          <p:nvPr userDrawn="1"/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0" i="0" kern="1200">
                <a:solidFill>
                  <a:schemeClr val="bg1"/>
                </a:solidFill>
                <a:latin typeface="Rostelecom Basis Medium" panose="020B0503030604040103" pitchFamily="34" charset="0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tx1"/>
                </a:solidFill>
              </a:rPr>
              <a:t>Филиалы </a:t>
            </a:r>
            <a:r>
              <a:rPr lang="en-US" dirty="0">
                <a:solidFill>
                  <a:schemeClr val="tx1"/>
                </a:solidFill>
              </a:rPr>
              <a:t>Solar JSOC </a:t>
            </a:r>
            <a:r>
              <a:rPr lang="ru-RU" dirty="0">
                <a:solidFill>
                  <a:schemeClr val="tx1"/>
                </a:solidFill>
              </a:rPr>
              <a:t>и ПАО</a:t>
            </a:r>
            <a:r>
              <a:rPr lang="ru-RU" baseline="0" dirty="0">
                <a:solidFill>
                  <a:schemeClr val="tx1"/>
                </a:solidFill>
              </a:rPr>
              <a:t> «Ростелеком»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6838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8E9A33CB-6E72-4D59-8F43-53EF1DAC45C6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36926" y="1719394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1" name="Picture Placeholder 2">
            <a:extLst>
              <a:ext uri="{FF2B5EF4-FFF2-40B4-BE49-F238E27FC236}">
                <a16:creationId xmlns:a16="http://schemas.microsoft.com/office/drawing/2014/main" id="{55D3F2D1-ABB7-41C0-8D68-4ADBDAE08C27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36014" y="2506946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8B6F4245-DCB9-493F-A627-533EBF8CFB03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35104" y="3289017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3" name="Picture Placeholder 2">
            <a:extLst>
              <a:ext uri="{FF2B5EF4-FFF2-40B4-BE49-F238E27FC236}">
                <a16:creationId xmlns:a16="http://schemas.microsoft.com/office/drawing/2014/main" id="{5829AE06-A076-471C-BCF7-2DEAF29E11CC}"/>
              </a:ext>
            </a:extLst>
          </p:cNvPr>
          <p:cNvSpPr>
            <a:spLocks noGrp="1" noChangeAspect="1"/>
          </p:cNvSpPr>
          <p:nvPr>
            <p:ph type="pic" sz="quarter" idx="21" hasCustomPrompt="1"/>
          </p:nvPr>
        </p:nvSpPr>
        <p:spPr>
          <a:xfrm>
            <a:off x="3246642" y="1718484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B85FBA92-0725-49C8-BD91-4D7A18EF516A}"/>
              </a:ext>
            </a:extLst>
          </p:cNvPr>
          <p:cNvSpPr>
            <a:spLocks noGrp="1" noChangeAspect="1"/>
          </p:cNvSpPr>
          <p:nvPr>
            <p:ph type="pic" sz="quarter" idx="22" hasCustomPrompt="1"/>
          </p:nvPr>
        </p:nvSpPr>
        <p:spPr>
          <a:xfrm>
            <a:off x="3245730" y="2506036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0BD2CEA5-B3E3-4DB1-BDCA-F3424E731C18}"/>
              </a:ext>
            </a:extLst>
          </p:cNvPr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3244820" y="3288107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6" name="Picture Placeholder 2">
            <a:extLst>
              <a:ext uri="{FF2B5EF4-FFF2-40B4-BE49-F238E27FC236}">
                <a16:creationId xmlns:a16="http://schemas.microsoft.com/office/drawing/2014/main" id="{BFD6960B-4F98-4144-9879-B029808DA76D}"/>
              </a:ext>
            </a:extLst>
          </p:cNvPr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060020" y="1717576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7" name="Picture Placeholder 2">
            <a:extLst>
              <a:ext uri="{FF2B5EF4-FFF2-40B4-BE49-F238E27FC236}">
                <a16:creationId xmlns:a16="http://schemas.microsoft.com/office/drawing/2014/main" id="{07A5CF51-A89A-45AE-99CD-DB86EA28B34C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6059108" y="2505128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8" name="Picture Placeholder 2">
            <a:extLst>
              <a:ext uri="{FF2B5EF4-FFF2-40B4-BE49-F238E27FC236}">
                <a16:creationId xmlns:a16="http://schemas.microsoft.com/office/drawing/2014/main" id="{0E7EA7A7-F2E2-4CAA-B3C3-E50D17FD34DA}"/>
              </a:ext>
            </a:extLst>
          </p:cNvPr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6058198" y="3287199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A1B27E7-A134-40ED-A38C-BF6286B3CD3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1503" y="1721075"/>
            <a:ext cx="1913108" cy="37317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38ED9EA7-B1A9-4DEC-8DEB-29994D36176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6072" y="2508621"/>
            <a:ext cx="1913108" cy="37317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ABB1AC9-5E60-4EDC-A4BE-EA9E039F1D2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6066" y="3286133"/>
            <a:ext cx="1913108" cy="37317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139CC07-D3B6-47BA-9E4C-8585D00E86C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725748" y="1720167"/>
            <a:ext cx="1917677" cy="37317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993E0DE1-C1EF-4457-878C-8AB1BF8B88B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3730318" y="2507713"/>
            <a:ext cx="1913108" cy="37317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AA5CCEFC-99B1-47A4-A992-5359BF3A2BC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730311" y="3285225"/>
            <a:ext cx="1913113" cy="37317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9C4C3AD-2D68-4706-BDF7-9BB5B07C62FD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539130" y="1719257"/>
            <a:ext cx="1913108" cy="37317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DB3CB25D-EB39-4E8E-8804-9D0C936F8270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543699" y="2506803"/>
            <a:ext cx="1913108" cy="37317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F8AEB003-464C-4011-9C93-7F141601A2B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543693" y="3284315"/>
            <a:ext cx="1913108" cy="373179"/>
          </a:xfrm>
          <a:prstGeom prst="rect">
            <a:avLst/>
          </a:prstGeom>
        </p:spPr>
        <p:txBody>
          <a:bodyPr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22" name="Заголовок 17">
            <a:extLst>
              <a:ext uri="{FF2B5EF4-FFF2-40B4-BE49-F238E27FC236}">
                <a16:creationId xmlns:a16="http://schemas.microsoft.com/office/drawing/2014/main" id="{1979CB05-B189-8247-B6D0-11F5A94801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слайда</a:t>
            </a:r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27" name="TextBox 26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15265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5ACFD6A4-692D-45A4-9A94-5402E5BF459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800" y="0"/>
            <a:ext cx="4572788" cy="5145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latin typeface="Basis Grotesque Pro Medium" panose="02000603030000020004" pitchFamily="50" charset="0"/>
              </a:defRPr>
            </a:lvl1pPr>
          </a:lstStyle>
          <a:p>
            <a:endParaRPr lang="ru-RU" dirty="0"/>
          </a:p>
          <a:p>
            <a:endParaRPr lang="ru-RU" dirty="0"/>
          </a:p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1" name="Заголовок 17">
            <a:extLst>
              <a:ext uri="{FF2B5EF4-FFF2-40B4-BE49-F238E27FC236}">
                <a16:creationId xmlns:a16="http://schemas.microsoft.com/office/drawing/2014/main" id="{FD5FE93B-B99F-264F-AAD0-6D74D8CB1D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слайда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BA1EBD49-1A7F-6B4D-A303-B87DE4027679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436926" y="1719394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0AFC779-D240-4643-939F-8C43B0FCF696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>
          <a:xfrm>
            <a:off x="436014" y="2506946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FF864477-E0FA-A245-AD87-5A559B79FB5C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435104" y="3289017"/>
            <a:ext cx="360000" cy="360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0" tIns="0" rIns="0"/>
          <a:lstStyle>
            <a:lvl1pPr marL="0" indent="0" algn="ctr">
              <a:buNone/>
              <a:defRPr sz="70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иконка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EF683E2-6260-AA45-9DE0-D5D657B1872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21502" y="1721075"/>
            <a:ext cx="3299939" cy="37317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A2782A4F-92F5-0546-ACAB-07684ED5FAE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6071" y="2508621"/>
            <a:ext cx="3299939" cy="37317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D8CB05F8-068E-384C-B5A8-0B5C5EA3797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26065" y="3286133"/>
            <a:ext cx="3299939" cy="373179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marL="0" indent="0">
              <a:buNone/>
              <a:defRPr sz="10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Тезис </a:t>
            </a:r>
            <a:br>
              <a:rPr lang="ru-RU" dirty="0"/>
            </a:br>
            <a:r>
              <a:rPr lang="ru-RU" dirty="0"/>
              <a:t>или краткое описание </a:t>
            </a: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21" name="TextBox 20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8181332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7880535-C43E-49B9-939E-93A7B5D65B4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572800" y="0"/>
            <a:ext cx="4572788" cy="51450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latin typeface="Basis Grotesque Pro Medium" panose="02000603030000020004" pitchFamily="50" charset="0"/>
              </a:defRPr>
            </a:lvl1pPr>
          </a:lstStyle>
          <a:p>
            <a:endParaRPr lang="ru-RU" dirty="0"/>
          </a:p>
          <a:p>
            <a:endParaRPr lang="ru-RU" dirty="0"/>
          </a:p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E55F20A0-5262-482D-A879-6645EDC5982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5104" y="1865313"/>
            <a:ext cx="3708400" cy="1801347"/>
          </a:xfrm>
          <a:prstGeom prst="rect">
            <a:avLst/>
          </a:prstGeom>
        </p:spPr>
        <p:txBody>
          <a:bodyPr lIns="0" tIns="90000">
            <a:spAutoFit/>
          </a:bodyPr>
          <a:lstStyle>
            <a:lvl1pPr marL="0" indent="0">
              <a:lnSpc>
                <a:spcPct val="130000"/>
              </a:lnSpc>
              <a:buNone/>
              <a:defRPr sz="14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«Ростелеком-Солар», компания группы ПАО «Ростелеком» – национальный провайдер сервисов и технологий для защиты информационных активов, целевого мониторинга и управления информационной безопасностью </a:t>
            </a:r>
          </a:p>
        </p:txBody>
      </p:sp>
      <p:sp>
        <p:nvSpPr>
          <p:cNvPr id="16" name="Заголовок 17">
            <a:extLst>
              <a:ext uri="{FF2B5EF4-FFF2-40B4-BE49-F238E27FC236}">
                <a16:creationId xmlns:a16="http://schemas.microsoft.com/office/drawing/2014/main" id="{4243E37A-C7DE-6D4C-9CCF-A77C9A2BDB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слайда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6588252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Прямоугольник 15">
            <a:extLst>
              <a:ext uri="{FF2B5EF4-FFF2-40B4-BE49-F238E27FC236}">
                <a16:creationId xmlns:a16="http://schemas.microsoft.com/office/drawing/2014/main" id="{7E5F154A-D40D-4DCE-A405-401F2F25378A}"/>
              </a:ext>
            </a:extLst>
          </p:cNvPr>
          <p:cNvSpPr/>
          <p:nvPr/>
        </p:nvSpPr>
        <p:spPr>
          <a:xfrm>
            <a:off x="2538790" y="1203767"/>
            <a:ext cx="1712863" cy="1541991"/>
          </a:xfrm>
          <a:prstGeom prst="rect">
            <a:avLst/>
          </a:prstGeom>
          <a:solidFill>
            <a:srgbClr val="273A6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20" name="Прямоугольник 18">
            <a:extLst>
              <a:ext uri="{FF2B5EF4-FFF2-40B4-BE49-F238E27FC236}">
                <a16:creationId xmlns:a16="http://schemas.microsoft.com/office/drawing/2014/main" id="{34A8B8BA-46B0-478F-BCCE-4658C512E644}"/>
              </a:ext>
            </a:extLst>
          </p:cNvPr>
          <p:cNvSpPr/>
          <p:nvPr/>
        </p:nvSpPr>
        <p:spPr>
          <a:xfrm>
            <a:off x="4704165" y="1203767"/>
            <a:ext cx="1712863" cy="1541991"/>
          </a:xfrm>
          <a:prstGeom prst="rect">
            <a:avLst/>
          </a:prstGeom>
          <a:solidFill>
            <a:srgbClr val="27539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23" name="Прямоугольник 21">
            <a:extLst>
              <a:ext uri="{FF2B5EF4-FFF2-40B4-BE49-F238E27FC236}">
                <a16:creationId xmlns:a16="http://schemas.microsoft.com/office/drawing/2014/main" id="{C07872DE-014D-412D-9C1C-784AC26D4166}"/>
              </a:ext>
            </a:extLst>
          </p:cNvPr>
          <p:cNvSpPr/>
          <p:nvPr/>
        </p:nvSpPr>
        <p:spPr>
          <a:xfrm>
            <a:off x="6813866" y="1203767"/>
            <a:ext cx="1712863" cy="1541991"/>
          </a:xfrm>
          <a:prstGeom prst="rect">
            <a:avLst/>
          </a:prstGeom>
          <a:solidFill>
            <a:srgbClr val="65BBE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14" name="Прямоугольник 11">
            <a:extLst>
              <a:ext uri="{FF2B5EF4-FFF2-40B4-BE49-F238E27FC236}">
                <a16:creationId xmlns:a16="http://schemas.microsoft.com/office/drawing/2014/main" id="{656EFCE6-7335-4BDB-9399-8ACE14D07B18}"/>
              </a:ext>
            </a:extLst>
          </p:cNvPr>
          <p:cNvSpPr/>
          <p:nvPr/>
        </p:nvSpPr>
        <p:spPr>
          <a:xfrm>
            <a:off x="435104" y="1203767"/>
            <a:ext cx="1712863" cy="1541991"/>
          </a:xfrm>
          <a:prstGeom prst="rect">
            <a:avLst/>
          </a:prstGeom>
          <a:solidFill>
            <a:srgbClr val="001C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16" name="Прямоугольник 13">
            <a:extLst>
              <a:ext uri="{FF2B5EF4-FFF2-40B4-BE49-F238E27FC236}">
                <a16:creationId xmlns:a16="http://schemas.microsoft.com/office/drawing/2014/main" id="{EEE8AD33-774C-4A79-8EA1-69DF96953614}"/>
              </a:ext>
            </a:extLst>
          </p:cNvPr>
          <p:cNvSpPr/>
          <p:nvPr/>
        </p:nvSpPr>
        <p:spPr>
          <a:xfrm>
            <a:off x="474811" y="1291410"/>
            <a:ext cx="32024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 Medium" panose="020B0503030604040103" pitchFamily="34" charset="0"/>
                <a:ea typeface="Chevin Pro Medium" charset="0"/>
                <a:cs typeface="Chevin Pro Medium" charset="0"/>
                <a:sym typeface="Helvetica Neue"/>
              </a:rPr>
              <a:t>1</a:t>
            </a:r>
            <a:endParaRPr kumimoji="0" lang="ru-RU" sz="2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stelecom Basis Medium" panose="020B0503030604040103" pitchFamily="34" charset="0"/>
              <a:ea typeface="+mn-ea"/>
              <a:cs typeface="+mn-cs"/>
              <a:sym typeface="Helvetica Neue"/>
            </a:endParaRPr>
          </a:p>
        </p:txBody>
      </p:sp>
      <p:sp>
        <p:nvSpPr>
          <p:cNvPr id="19" name="Прямоугольник 17">
            <a:extLst>
              <a:ext uri="{FF2B5EF4-FFF2-40B4-BE49-F238E27FC236}">
                <a16:creationId xmlns:a16="http://schemas.microsoft.com/office/drawing/2014/main" id="{54BFDCDA-B448-4727-B7D2-0F8918B4FA09}"/>
              </a:ext>
            </a:extLst>
          </p:cNvPr>
          <p:cNvSpPr/>
          <p:nvPr/>
        </p:nvSpPr>
        <p:spPr>
          <a:xfrm>
            <a:off x="2585531" y="1291410"/>
            <a:ext cx="32024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 Medium" panose="020B0503030604040103" pitchFamily="34" charset="0"/>
                <a:ea typeface="Chevin Pro Medium" charset="0"/>
                <a:cs typeface="Chevin Pro Medium" charset="0"/>
                <a:sym typeface="Helvetica Neue"/>
              </a:rPr>
              <a:t>2</a:t>
            </a:r>
            <a:endParaRPr kumimoji="0" lang="ru-RU" sz="2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stelecom Basis Medium" panose="020B0503030604040103" pitchFamily="34" charset="0"/>
              <a:ea typeface="+mn-ea"/>
              <a:cs typeface="+mn-cs"/>
              <a:sym typeface="Helvetica Neue"/>
            </a:endParaRPr>
          </a:p>
        </p:txBody>
      </p:sp>
      <p:sp>
        <p:nvSpPr>
          <p:cNvPr id="22" name="Прямоугольник 20">
            <a:extLst>
              <a:ext uri="{FF2B5EF4-FFF2-40B4-BE49-F238E27FC236}">
                <a16:creationId xmlns:a16="http://schemas.microsoft.com/office/drawing/2014/main" id="{C8AAE6E9-DC14-41C2-B040-2166C8C89CD9}"/>
              </a:ext>
            </a:extLst>
          </p:cNvPr>
          <p:cNvSpPr/>
          <p:nvPr/>
        </p:nvSpPr>
        <p:spPr>
          <a:xfrm>
            <a:off x="4743873" y="1291410"/>
            <a:ext cx="32024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 Medium" panose="020B0503030604040103" pitchFamily="34" charset="0"/>
                <a:ea typeface="Chevin Pro Medium" charset="0"/>
                <a:cs typeface="Chevin Pro Medium" charset="0"/>
                <a:sym typeface="Helvetica Neue"/>
              </a:rPr>
              <a:t>3</a:t>
            </a:r>
            <a:endParaRPr kumimoji="0" lang="ru-RU" sz="2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stelecom Basis Medium" panose="020B0503030604040103" pitchFamily="34" charset="0"/>
              <a:ea typeface="+mn-ea"/>
              <a:cs typeface="+mn-cs"/>
              <a:sym typeface="Helvetica Neue"/>
            </a:endParaRPr>
          </a:p>
        </p:txBody>
      </p:sp>
      <p:sp>
        <p:nvSpPr>
          <p:cNvPr id="25" name="Прямоугольник 23">
            <a:extLst>
              <a:ext uri="{FF2B5EF4-FFF2-40B4-BE49-F238E27FC236}">
                <a16:creationId xmlns:a16="http://schemas.microsoft.com/office/drawing/2014/main" id="{A85D6D4B-E77B-4246-9BC0-C77A93BEE9CB}"/>
              </a:ext>
            </a:extLst>
          </p:cNvPr>
          <p:cNvSpPr/>
          <p:nvPr/>
        </p:nvSpPr>
        <p:spPr>
          <a:xfrm>
            <a:off x="6867641" y="1291410"/>
            <a:ext cx="320248" cy="4924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Rostelecom Basis Medium" panose="020B0503030604040103" pitchFamily="34" charset="0"/>
                <a:ea typeface="Chevin Pro Medium" charset="0"/>
                <a:cs typeface="Chevin Pro Medium" charset="0"/>
                <a:sym typeface="Helvetica Neue"/>
              </a:rPr>
              <a:t>4</a:t>
            </a:r>
            <a:endParaRPr kumimoji="0" lang="ru-RU" sz="2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Rostelecom Basis Medium" panose="020B0503030604040103" pitchFamily="34" charset="0"/>
              <a:ea typeface="+mn-ea"/>
              <a:cs typeface="+mn-cs"/>
              <a:sym typeface="Helvetica Neue"/>
            </a:endParaRPr>
          </a:p>
        </p:txBody>
      </p:sp>
      <p:sp>
        <p:nvSpPr>
          <p:cNvPr id="26" name="Треугольник 2">
            <a:extLst>
              <a:ext uri="{FF2B5EF4-FFF2-40B4-BE49-F238E27FC236}">
                <a16:creationId xmlns:a16="http://schemas.microsoft.com/office/drawing/2014/main" id="{CDE19D12-D53A-4453-9052-0D4C4627E3C4}"/>
              </a:ext>
            </a:extLst>
          </p:cNvPr>
          <p:cNvSpPr/>
          <p:nvPr/>
        </p:nvSpPr>
        <p:spPr>
          <a:xfrm rot="5400000">
            <a:off x="2058032" y="1406863"/>
            <a:ext cx="359323" cy="191582"/>
          </a:xfrm>
          <a:prstGeom prst="triangle">
            <a:avLst/>
          </a:prstGeom>
          <a:solidFill>
            <a:srgbClr val="001C4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27" name="Треугольник 24">
            <a:extLst>
              <a:ext uri="{FF2B5EF4-FFF2-40B4-BE49-F238E27FC236}">
                <a16:creationId xmlns:a16="http://schemas.microsoft.com/office/drawing/2014/main" id="{D433C6B3-5DE0-40FB-B028-C61DFFEA39E5}"/>
              </a:ext>
            </a:extLst>
          </p:cNvPr>
          <p:cNvSpPr/>
          <p:nvPr/>
        </p:nvSpPr>
        <p:spPr>
          <a:xfrm rot="5400000">
            <a:off x="4167036" y="1406863"/>
            <a:ext cx="359323" cy="191582"/>
          </a:xfrm>
          <a:prstGeom prst="triangle">
            <a:avLst/>
          </a:prstGeom>
          <a:solidFill>
            <a:srgbClr val="273A6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28" name="Треугольник 25">
            <a:extLst>
              <a:ext uri="{FF2B5EF4-FFF2-40B4-BE49-F238E27FC236}">
                <a16:creationId xmlns:a16="http://schemas.microsoft.com/office/drawing/2014/main" id="{6E2E79B7-63FA-46C8-93B0-C10955A9B661}"/>
              </a:ext>
            </a:extLst>
          </p:cNvPr>
          <p:cNvSpPr/>
          <p:nvPr/>
        </p:nvSpPr>
        <p:spPr>
          <a:xfrm rot="5400000">
            <a:off x="6332412" y="1406863"/>
            <a:ext cx="359323" cy="191582"/>
          </a:xfrm>
          <a:prstGeom prst="triangle">
            <a:avLst/>
          </a:prstGeom>
          <a:solidFill>
            <a:srgbClr val="27539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  <a:sym typeface="Helvetica Neue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51964B-5742-47D3-B28B-20D075FBF5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5104" y="2094838"/>
            <a:ext cx="1706848" cy="650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Небольшое описание опции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27B9CF0C-D9F3-4CA5-942A-22B49094BDE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542165" y="2093930"/>
            <a:ext cx="1706848" cy="650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Небольшое описание опции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8D7D0175-D3FD-4A0C-9B8B-39D4ADB1DB3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708056" y="2093931"/>
            <a:ext cx="1706848" cy="650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Небольшое описание опции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FF8873CF-9A96-481B-BAF2-7ABEC56BEB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816246" y="2006287"/>
            <a:ext cx="1706848" cy="6508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pPr lvl="0"/>
            <a:r>
              <a:rPr lang="ru-RU" dirty="0"/>
              <a:t>Небольшое описание опции</a:t>
            </a:r>
          </a:p>
        </p:txBody>
      </p:sp>
      <p:sp>
        <p:nvSpPr>
          <p:cNvPr id="21" name="Заголовок 17">
            <a:extLst>
              <a:ext uri="{FF2B5EF4-FFF2-40B4-BE49-F238E27FC236}">
                <a16:creationId xmlns:a16="http://schemas.microsoft.com/office/drawing/2014/main" id="{A88E3F70-ACB9-E247-AF03-B61C7D623A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слайда</a:t>
            </a:r>
          </a:p>
        </p:txBody>
      </p: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34" name="TextBox 33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06614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A13CFA1C-BBDA-45A1-A943-B5790F30DE17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435104" y="1231976"/>
            <a:ext cx="8219997" cy="2923889"/>
          </a:xfrm>
          <a:prstGeom prst="rect">
            <a:avLst/>
          </a:prstGeom>
        </p:spPr>
        <p:txBody>
          <a:bodyPr anchor="b" anchorCtr="1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latin typeface="Basis Grotesque Pro Medium" panose="02000603030000020004" pitchFamily="50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1000" dirty="0">
                <a:latin typeface="Basis Grotesque Pro Medium" panose="02000603030000020004" pitchFamily="50" charset="0"/>
              </a:rPr>
              <a:t>Графики (</a:t>
            </a:r>
            <a:r>
              <a:rPr lang="en-US" sz="1000" dirty="0">
                <a:latin typeface="Basis Grotesque Pro Medium" panose="02000603030000020004" pitchFamily="50" charset="0"/>
              </a:rPr>
              <a:t>charts</a:t>
            </a:r>
            <a:r>
              <a:rPr lang="ru-RU" sz="1000" dirty="0">
                <a:latin typeface="Basis Grotesque Pro Medium" panose="02000603030000020004" pitchFamily="50" charset="0"/>
              </a:rPr>
              <a:t>)</a:t>
            </a:r>
            <a:endParaRPr lang="ru-RU" dirty="0"/>
          </a:p>
        </p:txBody>
      </p:sp>
      <p:sp>
        <p:nvSpPr>
          <p:cNvPr id="5" name="Заголовок 17">
            <a:extLst>
              <a:ext uri="{FF2B5EF4-FFF2-40B4-BE49-F238E27FC236}">
                <a16:creationId xmlns:a16="http://schemas.microsoft.com/office/drawing/2014/main" id="{5B4B8ACF-6B44-3B4E-B7C2-29DFE97085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слайда</a:t>
            </a: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426988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hart Placeholder 2">
            <a:extLst>
              <a:ext uri="{FF2B5EF4-FFF2-40B4-BE49-F238E27FC236}">
                <a16:creationId xmlns:a16="http://schemas.microsoft.com/office/drawing/2014/main" id="{18E2B12D-0230-48F5-934D-AEA2BED9668F}"/>
              </a:ext>
            </a:extLst>
          </p:cNvPr>
          <p:cNvSpPr>
            <a:spLocks noGrp="1"/>
          </p:cNvSpPr>
          <p:nvPr>
            <p:ph type="chart" sz="quarter" idx="19" hasCustomPrompt="1"/>
          </p:nvPr>
        </p:nvSpPr>
        <p:spPr>
          <a:xfrm>
            <a:off x="4697936" y="985581"/>
            <a:ext cx="4112062" cy="3681928"/>
          </a:xfrm>
          <a:prstGeom prst="rect">
            <a:avLst/>
          </a:prstGeom>
        </p:spPr>
        <p:txBody>
          <a:bodyPr anchor="b" anchorCtr="1"/>
          <a:lstStyle>
            <a:lvl1pPr marL="0" indent="0" algn="ctr">
              <a:buNone/>
              <a:defRPr sz="1000">
                <a:latin typeface="Basis Grotesque Pro Medium" panose="02000603030000020004" pitchFamily="50" charset="0"/>
              </a:defRPr>
            </a:lvl1pPr>
          </a:lstStyle>
          <a:p>
            <a:r>
              <a:rPr lang="ru-RU" sz="1000" dirty="0">
                <a:latin typeface="Basis Grotesque Pro Medium" panose="02000603030000020004" pitchFamily="50" charset="0"/>
              </a:rPr>
              <a:t>Графики (</a:t>
            </a:r>
            <a:r>
              <a:rPr lang="en-US" sz="1000" dirty="0">
                <a:latin typeface="Basis Grotesque Pro Medium" panose="02000603030000020004" pitchFamily="50" charset="0"/>
              </a:rPr>
              <a:t>charts</a:t>
            </a:r>
            <a:r>
              <a:rPr lang="ru-RU" sz="1000" dirty="0">
                <a:latin typeface="Basis Grotesque Pro Medium" panose="02000603030000020004" pitchFamily="50" charset="0"/>
              </a:rPr>
              <a:t>)</a:t>
            </a:r>
            <a:endParaRPr lang="ru-RU" dirty="0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ED6128D1-849B-1B46-B793-6EDE1EA6D4D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5104" y="1865313"/>
            <a:ext cx="3708400" cy="1801347"/>
          </a:xfrm>
          <a:prstGeom prst="rect">
            <a:avLst/>
          </a:prstGeom>
        </p:spPr>
        <p:txBody>
          <a:bodyPr lIns="0" tIns="90000">
            <a:spAutoFit/>
          </a:bodyPr>
          <a:lstStyle>
            <a:lvl1pPr marL="0" indent="0">
              <a:lnSpc>
                <a:spcPct val="130000"/>
              </a:lnSpc>
              <a:buNone/>
              <a:defRPr sz="14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«Ростелеком-Солар», компания группы ПАО «Ростелеком» – национальный провайдер сервисов и технологий для защиты информационных активов, целевого мониторинга и управления информационной безопасностью</a:t>
            </a:r>
          </a:p>
        </p:txBody>
      </p:sp>
      <p:sp>
        <p:nvSpPr>
          <p:cNvPr id="8" name="Заголовок 17">
            <a:extLst>
              <a:ext uri="{FF2B5EF4-FFF2-40B4-BE49-F238E27FC236}">
                <a16:creationId xmlns:a16="http://schemas.microsoft.com/office/drawing/2014/main" id="{880BE3AF-AC26-E548-9A40-E1DA1B333A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слайда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261424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8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Рисунок 21">
            <a:extLst>
              <a:ext uri="{FF2B5EF4-FFF2-40B4-BE49-F238E27FC236}">
                <a16:creationId xmlns:a16="http://schemas.microsoft.com/office/drawing/2014/main" id="{92E0083F-874C-43F9-8135-355E38DE3676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478356" y="0"/>
            <a:ext cx="4668063" cy="5144400"/>
          </a:xfrm>
          <a:custGeom>
            <a:avLst/>
            <a:gdLst>
              <a:gd name="connsiteX0" fmla="*/ 0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0 w 5005840"/>
              <a:gd name="connsiteY4" fmla="*/ 0 h 5143500"/>
              <a:gd name="connsiteX0" fmla="*/ 2235941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2235941 w 5005840"/>
              <a:gd name="connsiteY4" fmla="*/ 0 h 5143500"/>
              <a:gd name="connsiteX0" fmla="*/ 1882195 w 4652094"/>
              <a:gd name="connsiteY0" fmla="*/ 0 h 5143500"/>
              <a:gd name="connsiteX1" fmla="*/ 4652094 w 4652094"/>
              <a:gd name="connsiteY1" fmla="*/ 0 h 5143500"/>
              <a:gd name="connsiteX2" fmla="*/ 4652094 w 4652094"/>
              <a:gd name="connsiteY2" fmla="*/ 5143500 h 5143500"/>
              <a:gd name="connsiteX3" fmla="*/ 0 w 4652094"/>
              <a:gd name="connsiteY3" fmla="*/ 5136825 h 5143500"/>
              <a:gd name="connsiteX4" fmla="*/ 1882195 w 4652094"/>
              <a:gd name="connsiteY4" fmla="*/ 0 h 5143500"/>
              <a:gd name="connsiteX0" fmla="*/ 1839332 w 4609231"/>
              <a:gd name="connsiteY0" fmla="*/ 0 h 5167782"/>
              <a:gd name="connsiteX1" fmla="*/ 4609231 w 4609231"/>
              <a:gd name="connsiteY1" fmla="*/ 0 h 5167782"/>
              <a:gd name="connsiteX2" fmla="*/ 4609231 w 4609231"/>
              <a:gd name="connsiteY2" fmla="*/ 5143500 h 5167782"/>
              <a:gd name="connsiteX3" fmla="*/ 0 w 4609231"/>
              <a:gd name="connsiteY3" fmla="*/ 5167782 h 5167782"/>
              <a:gd name="connsiteX4" fmla="*/ 1839332 w 4609231"/>
              <a:gd name="connsiteY4" fmla="*/ 0 h 5167782"/>
              <a:gd name="connsiteX0" fmla="*/ 1886957 w 4656856"/>
              <a:gd name="connsiteY0" fmla="*/ 0 h 5146350"/>
              <a:gd name="connsiteX1" fmla="*/ 4656856 w 4656856"/>
              <a:gd name="connsiteY1" fmla="*/ 0 h 5146350"/>
              <a:gd name="connsiteX2" fmla="*/ 4656856 w 4656856"/>
              <a:gd name="connsiteY2" fmla="*/ 5143500 h 5146350"/>
              <a:gd name="connsiteX3" fmla="*/ 0 w 4656856"/>
              <a:gd name="connsiteY3" fmla="*/ 5146350 h 5146350"/>
              <a:gd name="connsiteX4" fmla="*/ 1886957 w 4656856"/>
              <a:gd name="connsiteY4" fmla="*/ 0 h 5146350"/>
              <a:gd name="connsiteX0" fmla="*/ 1883782 w 4656856"/>
              <a:gd name="connsiteY0" fmla="*/ 0 h 5149525"/>
              <a:gd name="connsiteX1" fmla="*/ 4656856 w 4656856"/>
              <a:gd name="connsiteY1" fmla="*/ 3175 h 5149525"/>
              <a:gd name="connsiteX2" fmla="*/ 4656856 w 4656856"/>
              <a:gd name="connsiteY2" fmla="*/ 5146675 h 5149525"/>
              <a:gd name="connsiteX3" fmla="*/ 0 w 4656856"/>
              <a:gd name="connsiteY3" fmla="*/ 5149525 h 5149525"/>
              <a:gd name="connsiteX4" fmla="*/ 1883782 w 4656856"/>
              <a:gd name="connsiteY4" fmla="*/ 0 h 5149525"/>
              <a:gd name="connsiteX0" fmla="*/ 1820886 w 4593960"/>
              <a:gd name="connsiteY0" fmla="*/ 0 h 5146675"/>
              <a:gd name="connsiteX1" fmla="*/ 4593960 w 4593960"/>
              <a:gd name="connsiteY1" fmla="*/ 3175 h 5146675"/>
              <a:gd name="connsiteX2" fmla="*/ 4593960 w 4593960"/>
              <a:gd name="connsiteY2" fmla="*/ 5146675 h 5146675"/>
              <a:gd name="connsiteX3" fmla="*/ 0 w 4593960"/>
              <a:gd name="connsiteY3" fmla="*/ 5098725 h 5146675"/>
              <a:gd name="connsiteX4" fmla="*/ 1820886 w 4593960"/>
              <a:gd name="connsiteY4" fmla="*/ 0 h 5146675"/>
              <a:gd name="connsiteX0" fmla="*/ 1886201 w 4659275"/>
              <a:gd name="connsiteY0" fmla="*/ 0 h 5146675"/>
              <a:gd name="connsiteX1" fmla="*/ 4659275 w 4659275"/>
              <a:gd name="connsiteY1" fmla="*/ 3175 h 5146675"/>
              <a:gd name="connsiteX2" fmla="*/ 4659275 w 4659275"/>
              <a:gd name="connsiteY2" fmla="*/ 5146675 h 5146675"/>
              <a:gd name="connsiteX3" fmla="*/ 0 w 4659275"/>
              <a:gd name="connsiteY3" fmla="*/ 5144687 h 5146675"/>
              <a:gd name="connsiteX4" fmla="*/ 1886201 w 4659275"/>
              <a:gd name="connsiteY4" fmla="*/ 0 h 5146675"/>
              <a:gd name="connsiteX0" fmla="*/ 1886201 w 4659275"/>
              <a:gd name="connsiteY0" fmla="*/ 0 h 5144687"/>
              <a:gd name="connsiteX1" fmla="*/ 4659275 w 4659275"/>
              <a:gd name="connsiteY1" fmla="*/ 3175 h 5144687"/>
              <a:gd name="connsiteX2" fmla="*/ 4591542 w 4659275"/>
              <a:gd name="connsiteY2" fmla="*/ 5086199 h 5144687"/>
              <a:gd name="connsiteX3" fmla="*/ 0 w 4659275"/>
              <a:gd name="connsiteY3" fmla="*/ 5144687 h 5144687"/>
              <a:gd name="connsiteX4" fmla="*/ 1886201 w 4659275"/>
              <a:gd name="connsiteY4" fmla="*/ 0 h 5144687"/>
              <a:gd name="connsiteX0" fmla="*/ 1886201 w 4661694"/>
              <a:gd name="connsiteY0" fmla="*/ 0 h 5144687"/>
              <a:gd name="connsiteX1" fmla="*/ 4659275 w 4661694"/>
              <a:gd name="connsiteY1" fmla="*/ 3175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886201 w 4661694"/>
              <a:gd name="connsiteY0" fmla="*/ 0 h 5144687"/>
              <a:gd name="connsiteX1" fmla="*/ 4625408 w 4661694"/>
              <a:gd name="connsiteY1" fmla="*/ 41880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886201 w 4661694"/>
              <a:gd name="connsiteY0" fmla="*/ 0 h 5144687"/>
              <a:gd name="connsiteX1" fmla="*/ 4659275 w 4661694"/>
              <a:gd name="connsiteY1" fmla="*/ 3175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900716 w 4661694"/>
              <a:gd name="connsiteY0" fmla="*/ 37949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900716 w 4661694"/>
              <a:gd name="connsiteY4" fmla="*/ 37949 h 514151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6201 w 4661694"/>
              <a:gd name="connsiteY0" fmla="*/ 1663 h 5143462"/>
              <a:gd name="connsiteX1" fmla="*/ 4659275 w 4661694"/>
              <a:gd name="connsiteY1" fmla="*/ 0 h 5143462"/>
              <a:gd name="connsiteX2" fmla="*/ 4661694 w 4661694"/>
              <a:gd name="connsiteY2" fmla="*/ 5143462 h 5143462"/>
              <a:gd name="connsiteX3" fmla="*/ 0 w 4661694"/>
              <a:gd name="connsiteY3" fmla="*/ 5141512 h 5143462"/>
              <a:gd name="connsiteX4" fmla="*/ 1886201 w 4661694"/>
              <a:gd name="connsiteY4" fmla="*/ 1663 h 514346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0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8582 w 4664075"/>
              <a:gd name="connsiteY0" fmla="*/ 1663 h 5141512"/>
              <a:gd name="connsiteX1" fmla="*/ 4661656 w 4664075"/>
              <a:gd name="connsiteY1" fmla="*/ 0 h 5141512"/>
              <a:gd name="connsiteX2" fmla="*/ 4664075 w 4664075"/>
              <a:gd name="connsiteY2" fmla="*/ 5141080 h 5141512"/>
              <a:gd name="connsiteX3" fmla="*/ 0 w 4664075"/>
              <a:gd name="connsiteY3" fmla="*/ 5141512 h 5141512"/>
              <a:gd name="connsiteX4" fmla="*/ 1888582 w 4664075"/>
              <a:gd name="connsiteY4" fmla="*/ 1663 h 514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4075" h="5141512">
                <a:moveTo>
                  <a:pt x="1888582" y="1663"/>
                </a:moveTo>
                <a:lnTo>
                  <a:pt x="4661656" y="0"/>
                </a:lnTo>
                <a:cubicBezTo>
                  <a:pt x="4662462" y="1713694"/>
                  <a:pt x="4663269" y="3427386"/>
                  <a:pt x="4664075" y="5141080"/>
                </a:cubicBezTo>
                <a:lnTo>
                  <a:pt x="0" y="5141512"/>
                </a:lnTo>
                <a:lnTo>
                  <a:pt x="1888582" y="16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indent="0" algn="r">
              <a:buNone/>
              <a:defRPr sz="1000" b="0">
                <a:latin typeface="Basis Grotesque Pro Medium" panose="02000603030000020004" pitchFamily="50" charset="0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</p:txBody>
      </p:sp>
      <p:sp>
        <p:nvSpPr>
          <p:cNvPr id="11" name="Прямоугольник 6">
            <a:extLst>
              <a:ext uri="{FF2B5EF4-FFF2-40B4-BE49-F238E27FC236}">
                <a16:creationId xmlns:a16="http://schemas.microsoft.com/office/drawing/2014/main" id="{4CF3D02A-AF50-4BAC-B3BA-DB6BA1BFBD8C}"/>
              </a:ext>
            </a:extLst>
          </p:cNvPr>
          <p:cNvSpPr/>
          <p:nvPr userDrawn="1"/>
        </p:nvSpPr>
        <p:spPr>
          <a:xfrm>
            <a:off x="0" y="-260"/>
            <a:ext cx="6369607" cy="5144660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371493 w 6869152"/>
              <a:gd name="connsiteY2" fmla="*/ 685800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7632391"/>
              <a:gd name="connsiteY0" fmla="*/ 0 h 6869152"/>
              <a:gd name="connsiteX1" fmla="*/ 7632391 w 7632391"/>
              <a:gd name="connsiteY1" fmla="*/ 11151 h 6869152"/>
              <a:gd name="connsiteX2" fmla="*/ 5371493 w 7632391"/>
              <a:gd name="connsiteY2" fmla="*/ 6858002 h 6869152"/>
              <a:gd name="connsiteX3" fmla="*/ 0 w 7632391"/>
              <a:gd name="connsiteY3" fmla="*/ 6869152 h 6869152"/>
              <a:gd name="connsiteX4" fmla="*/ 0 w 7632391"/>
              <a:gd name="connsiteY4" fmla="*/ 0 h 6869152"/>
              <a:gd name="connsiteX0" fmla="*/ 0 w 7629198"/>
              <a:gd name="connsiteY0" fmla="*/ 0 h 6869152"/>
              <a:gd name="connsiteX1" fmla="*/ 7629198 w 7629198"/>
              <a:gd name="connsiteY1" fmla="*/ 21754 h 6869152"/>
              <a:gd name="connsiteX2" fmla="*/ 5371493 w 7629198"/>
              <a:gd name="connsiteY2" fmla="*/ 6858002 h 6869152"/>
              <a:gd name="connsiteX3" fmla="*/ 0 w 7629198"/>
              <a:gd name="connsiteY3" fmla="*/ 6869152 h 6869152"/>
              <a:gd name="connsiteX4" fmla="*/ 0 w 7629198"/>
              <a:gd name="connsiteY4" fmla="*/ 0 h 6869152"/>
              <a:gd name="connsiteX0" fmla="*/ 31928 w 7629198"/>
              <a:gd name="connsiteY0" fmla="*/ 2065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1928 w 7629198"/>
              <a:gd name="connsiteY4" fmla="*/ 20655 h 6847398"/>
              <a:gd name="connsiteX0" fmla="*/ 0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0 w 7629198"/>
              <a:gd name="connsiteY4" fmla="*/ 2985 h 6847398"/>
              <a:gd name="connsiteX0" fmla="*/ 34766 w 7629198"/>
              <a:gd name="connsiteY0" fmla="*/ 31848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4766 w 7629198"/>
              <a:gd name="connsiteY4" fmla="*/ 31848 h 6847398"/>
              <a:gd name="connsiteX0" fmla="*/ 2897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2897 w 7629198"/>
              <a:gd name="connsiteY4" fmla="*/ 2985 h 6847398"/>
              <a:gd name="connsiteX0" fmla="*/ 19 w 7626320"/>
              <a:gd name="connsiteY0" fmla="*/ 2985 h 6836248"/>
              <a:gd name="connsiteX1" fmla="*/ 7626320 w 7626320"/>
              <a:gd name="connsiteY1" fmla="*/ 0 h 6836248"/>
              <a:gd name="connsiteX2" fmla="*/ 5368615 w 7626320"/>
              <a:gd name="connsiteY2" fmla="*/ 6836248 h 6836248"/>
              <a:gd name="connsiteX3" fmla="*/ 34785 w 7626320"/>
              <a:gd name="connsiteY3" fmla="*/ 6786467 h 6836248"/>
              <a:gd name="connsiteX4" fmla="*/ 19 w 7626320"/>
              <a:gd name="connsiteY4" fmla="*/ 2985 h 6836248"/>
              <a:gd name="connsiteX0" fmla="*/ 278 w 7626579"/>
              <a:gd name="connsiteY0" fmla="*/ 2985 h 6836248"/>
              <a:gd name="connsiteX1" fmla="*/ 7626579 w 7626579"/>
              <a:gd name="connsiteY1" fmla="*/ 0 h 6836248"/>
              <a:gd name="connsiteX2" fmla="*/ 5368874 w 7626579"/>
              <a:gd name="connsiteY2" fmla="*/ 6836248 h 6836248"/>
              <a:gd name="connsiteX3" fmla="*/ 278 w 7626579"/>
              <a:gd name="connsiteY3" fmla="*/ 6818536 h 6836248"/>
              <a:gd name="connsiteX4" fmla="*/ 278 w 7626579"/>
              <a:gd name="connsiteY4" fmla="*/ 2985 h 6836248"/>
              <a:gd name="connsiteX0" fmla="*/ 278 w 7626579"/>
              <a:gd name="connsiteY0" fmla="*/ 2985 h 6818536"/>
              <a:gd name="connsiteX1" fmla="*/ 7626579 w 7626579"/>
              <a:gd name="connsiteY1" fmla="*/ 0 h 6818536"/>
              <a:gd name="connsiteX2" fmla="*/ 5368874 w 7626579"/>
              <a:gd name="connsiteY2" fmla="*/ 6817007 h 6818536"/>
              <a:gd name="connsiteX3" fmla="*/ 278 w 7626579"/>
              <a:gd name="connsiteY3" fmla="*/ 6818536 h 6818536"/>
              <a:gd name="connsiteX4" fmla="*/ 278 w 7626579"/>
              <a:gd name="connsiteY4" fmla="*/ 2985 h 681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001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8" name="Заголовок 17">
            <a:extLst>
              <a:ext uri="{FF2B5EF4-FFF2-40B4-BE49-F238E27FC236}">
                <a16:creationId xmlns:a16="http://schemas.microsoft.com/office/drawing/2014/main" id="{7449E508-9816-4CBE-AE42-475D8AA060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F5B30F1-71AC-483A-82D4-FC45AA9955A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395972"/>
      </p:ext>
    </p:extLst>
  </p:cSld>
  <p:clrMapOvr>
    <a:masterClrMapping/>
  </p:clrMapOvr>
  <p:transition spd="med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A6A25AB8-8BA2-470C-932E-C31EBA09C974}"/>
              </a:ext>
            </a:extLst>
          </p:cNvPr>
          <p:cNvSpPr>
            <a:spLocks noGrp="1"/>
          </p:cNvSpPr>
          <p:nvPr>
            <p:ph type="tbl" sz="quarter" idx="19" hasCustomPrompt="1"/>
          </p:nvPr>
        </p:nvSpPr>
        <p:spPr>
          <a:xfrm>
            <a:off x="428368" y="1096168"/>
            <a:ext cx="8226734" cy="2951163"/>
          </a:xfrm>
          <a:prstGeom prst="rect">
            <a:avLst/>
          </a:prstGeom>
        </p:spPr>
        <p:txBody>
          <a:bodyPr anchor="b" anchorCtr="1"/>
          <a:lstStyle>
            <a:lvl1pPr marL="0" indent="0">
              <a:buNone/>
              <a:defRPr sz="1000">
                <a:latin typeface="Basis Grotesque Pro Medium" panose="02000603030000020004" pitchFamily="50" charset="0"/>
              </a:defRPr>
            </a:lvl1pPr>
          </a:lstStyle>
          <a:p>
            <a:r>
              <a:rPr lang="ru-RU" sz="1000" dirty="0">
                <a:latin typeface="Basis Grotesque Pro Medium" panose="02000603030000020004" pitchFamily="50" charset="0"/>
              </a:rPr>
              <a:t>таблица</a:t>
            </a:r>
            <a:endParaRPr lang="ru-RU" dirty="0"/>
          </a:p>
        </p:txBody>
      </p:sp>
      <p:sp>
        <p:nvSpPr>
          <p:cNvPr id="7" name="Заголовок 17">
            <a:extLst>
              <a:ext uri="{FF2B5EF4-FFF2-40B4-BE49-F238E27FC236}">
                <a16:creationId xmlns:a16="http://schemas.microsoft.com/office/drawing/2014/main" id="{BB7411CB-48D6-9748-B220-D4EF5B68AA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слайд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281874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78AFCCBC-A38D-E940-AE46-05C95C3F58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5104" y="1865313"/>
            <a:ext cx="3708400" cy="1801347"/>
          </a:xfrm>
          <a:prstGeom prst="rect">
            <a:avLst/>
          </a:prstGeom>
        </p:spPr>
        <p:txBody>
          <a:bodyPr lIns="0" tIns="90000">
            <a:spAutoFit/>
          </a:bodyPr>
          <a:lstStyle>
            <a:lvl1pPr marL="0" indent="0">
              <a:lnSpc>
                <a:spcPct val="130000"/>
              </a:lnSpc>
              <a:buNone/>
              <a:defRPr sz="1400" b="0" i="0"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«Ростелеком-Солар», компания группы ПАО «Ростелеком» – национальный провайдер сервисов и технологий для защиты информационных активов, целевого мониторинга и управления информационной безопасностью </a:t>
            </a:r>
          </a:p>
        </p:txBody>
      </p:sp>
      <p:sp>
        <p:nvSpPr>
          <p:cNvPr id="9" name="Заголовок 17">
            <a:extLst>
              <a:ext uri="{FF2B5EF4-FFF2-40B4-BE49-F238E27FC236}">
                <a16:creationId xmlns:a16="http://schemas.microsoft.com/office/drawing/2014/main" id="{63CCB78C-5CB4-0247-9E85-FCE7867065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104" y="230066"/>
            <a:ext cx="8219998" cy="433965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2400" b="0" i="0">
                <a:solidFill>
                  <a:schemeClr val="tx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Заголовок</a:t>
            </a:r>
            <a:r>
              <a:rPr lang="en-US" dirty="0"/>
              <a:t> </a:t>
            </a:r>
            <a:r>
              <a:rPr lang="ru-RU" dirty="0"/>
              <a:t>слайда</a:t>
            </a:r>
          </a:p>
        </p:txBody>
      </p:sp>
      <p:sp>
        <p:nvSpPr>
          <p:cNvPr id="12" name="Table Placeholder 2">
            <a:extLst>
              <a:ext uri="{FF2B5EF4-FFF2-40B4-BE49-F238E27FC236}">
                <a16:creationId xmlns:a16="http://schemas.microsoft.com/office/drawing/2014/main" id="{E82338DC-503D-834B-8219-13EADBD77F47}"/>
              </a:ext>
            </a:extLst>
          </p:cNvPr>
          <p:cNvSpPr>
            <a:spLocks noGrp="1"/>
          </p:cNvSpPr>
          <p:nvPr>
            <p:ph type="tbl" sz="quarter" idx="20" hasCustomPrompt="1"/>
          </p:nvPr>
        </p:nvSpPr>
        <p:spPr>
          <a:xfrm>
            <a:off x="4697936" y="1231900"/>
            <a:ext cx="3957166" cy="2951163"/>
          </a:xfrm>
          <a:prstGeom prst="rect">
            <a:avLst/>
          </a:prstGeom>
        </p:spPr>
        <p:txBody>
          <a:bodyPr anchor="b" anchorCtr="1"/>
          <a:lstStyle>
            <a:lvl1pPr marL="0" indent="0">
              <a:buNone/>
              <a:defRPr sz="1000">
                <a:latin typeface="Basis Grotesque Pro Medium" panose="02000603030000020004" pitchFamily="50" charset="0"/>
              </a:defRPr>
            </a:lvl1pPr>
          </a:lstStyle>
          <a:p>
            <a:r>
              <a:rPr lang="ru-RU" sz="1000" dirty="0">
                <a:latin typeface="Basis Grotesque Pro Medium" panose="02000603030000020004" pitchFamily="50" charset="0"/>
              </a:rPr>
              <a:t>таблица</a:t>
            </a:r>
            <a:endParaRPr lang="ru-RU" dirty="0"/>
          </a:p>
        </p:txBody>
      </p:sp>
      <p:sp>
        <p:nvSpPr>
          <p:cNvPr id="8" name="TextBox 7"/>
          <p:cNvSpPr txBox="1"/>
          <p:nvPr userDrawn="1"/>
        </p:nvSpPr>
        <p:spPr>
          <a:xfrm>
            <a:off x="8384164" y="4689919"/>
            <a:ext cx="360996" cy="26545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fld id="{276BC3AB-C257-4DA5-9F33-BF8342E5AFD5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02" y="4538219"/>
            <a:ext cx="1415954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79542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3072" userDrawn="1">
          <p15:clr>
            <a:srgbClr val="FBAE40"/>
          </p15:clr>
        </p15:guide>
        <p15:guide id="2" pos="272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Рисунок 21">
            <a:extLst>
              <a:ext uri="{FF2B5EF4-FFF2-40B4-BE49-F238E27FC236}">
                <a16:creationId xmlns:a16="http://schemas.microsoft.com/office/drawing/2014/main" id="{432058D7-0CDD-4594-9CB0-7A77086A5F4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478356" y="0"/>
            <a:ext cx="4668063" cy="5144400"/>
          </a:xfrm>
          <a:custGeom>
            <a:avLst/>
            <a:gdLst>
              <a:gd name="connsiteX0" fmla="*/ 0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0 w 5005840"/>
              <a:gd name="connsiteY4" fmla="*/ 0 h 5143500"/>
              <a:gd name="connsiteX0" fmla="*/ 2235941 w 5005840"/>
              <a:gd name="connsiteY0" fmla="*/ 0 h 5143500"/>
              <a:gd name="connsiteX1" fmla="*/ 5005840 w 5005840"/>
              <a:gd name="connsiteY1" fmla="*/ 0 h 5143500"/>
              <a:gd name="connsiteX2" fmla="*/ 5005840 w 5005840"/>
              <a:gd name="connsiteY2" fmla="*/ 5143500 h 5143500"/>
              <a:gd name="connsiteX3" fmla="*/ 0 w 5005840"/>
              <a:gd name="connsiteY3" fmla="*/ 5143500 h 5143500"/>
              <a:gd name="connsiteX4" fmla="*/ 2235941 w 5005840"/>
              <a:gd name="connsiteY4" fmla="*/ 0 h 5143500"/>
              <a:gd name="connsiteX0" fmla="*/ 1882195 w 4652094"/>
              <a:gd name="connsiteY0" fmla="*/ 0 h 5143500"/>
              <a:gd name="connsiteX1" fmla="*/ 4652094 w 4652094"/>
              <a:gd name="connsiteY1" fmla="*/ 0 h 5143500"/>
              <a:gd name="connsiteX2" fmla="*/ 4652094 w 4652094"/>
              <a:gd name="connsiteY2" fmla="*/ 5143500 h 5143500"/>
              <a:gd name="connsiteX3" fmla="*/ 0 w 4652094"/>
              <a:gd name="connsiteY3" fmla="*/ 5136825 h 5143500"/>
              <a:gd name="connsiteX4" fmla="*/ 1882195 w 4652094"/>
              <a:gd name="connsiteY4" fmla="*/ 0 h 5143500"/>
              <a:gd name="connsiteX0" fmla="*/ 1839332 w 4609231"/>
              <a:gd name="connsiteY0" fmla="*/ 0 h 5167782"/>
              <a:gd name="connsiteX1" fmla="*/ 4609231 w 4609231"/>
              <a:gd name="connsiteY1" fmla="*/ 0 h 5167782"/>
              <a:gd name="connsiteX2" fmla="*/ 4609231 w 4609231"/>
              <a:gd name="connsiteY2" fmla="*/ 5143500 h 5167782"/>
              <a:gd name="connsiteX3" fmla="*/ 0 w 4609231"/>
              <a:gd name="connsiteY3" fmla="*/ 5167782 h 5167782"/>
              <a:gd name="connsiteX4" fmla="*/ 1839332 w 4609231"/>
              <a:gd name="connsiteY4" fmla="*/ 0 h 5167782"/>
              <a:gd name="connsiteX0" fmla="*/ 1886957 w 4656856"/>
              <a:gd name="connsiteY0" fmla="*/ 0 h 5146350"/>
              <a:gd name="connsiteX1" fmla="*/ 4656856 w 4656856"/>
              <a:gd name="connsiteY1" fmla="*/ 0 h 5146350"/>
              <a:gd name="connsiteX2" fmla="*/ 4656856 w 4656856"/>
              <a:gd name="connsiteY2" fmla="*/ 5143500 h 5146350"/>
              <a:gd name="connsiteX3" fmla="*/ 0 w 4656856"/>
              <a:gd name="connsiteY3" fmla="*/ 5146350 h 5146350"/>
              <a:gd name="connsiteX4" fmla="*/ 1886957 w 4656856"/>
              <a:gd name="connsiteY4" fmla="*/ 0 h 5146350"/>
              <a:gd name="connsiteX0" fmla="*/ 1883782 w 4656856"/>
              <a:gd name="connsiteY0" fmla="*/ 0 h 5149525"/>
              <a:gd name="connsiteX1" fmla="*/ 4656856 w 4656856"/>
              <a:gd name="connsiteY1" fmla="*/ 3175 h 5149525"/>
              <a:gd name="connsiteX2" fmla="*/ 4656856 w 4656856"/>
              <a:gd name="connsiteY2" fmla="*/ 5146675 h 5149525"/>
              <a:gd name="connsiteX3" fmla="*/ 0 w 4656856"/>
              <a:gd name="connsiteY3" fmla="*/ 5149525 h 5149525"/>
              <a:gd name="connsiteX4" fmla="*/ 1883782 w 4656856"/>
              <a:gd name="connsiteY4" fmla="*/ 0 h 5149525"/>
              <a:gd name="connsiteX0" fmla="*/ 1820886 w 4593960"/>
              <a:gd name="connsiteY0" fmla="*/ 0 h 5146675"/>
              <a:gd name="connsiteX1" fmla="*/ 4593960 w 4593960"/>
              <a:gd name="connsiteY1" fmla="*/ 3175 h 5146675"/>
              <a:gd name="connsiteX2" fmla="*/ 4593960 w 4593960"/>
              <a:gd name="connsiteY2" fmla="*/ 5146675 h 5146675"/>
              <a:gd name="connsiteX3" fmla="*/ 0 w 4593960"/>
              <a:gd name="connsiteY3" fmla="*/ 5098725 h 5146675"/>
              <a:gd name="connsiteX4" fmla="*/ 1820886 w 4593960"/>
              <a:gd name="connsiteY4" fmla="*/ 0 h 5146675"/>
              <a:gd name="connsiteX0" fmla="*/ 1886201 w 4659275"/>
              <a:gd name="connsiteY0" fmla="*/ 0 h 5146675"/>
              <a:gd name="connsiteX1" fmla="*/ 4659275 w 4659275"/>
              <a:gd name="connsiteY1" fmla="*/ 3175 h 5146675"/>
              <a:gd name="connsiteX2" fmla="*/ 4659275 w 4659275"/>
              <a:gd name="connsiteY2" fmla="*/ 5146675 h 5146675"/>
              <a:gd name="connsiteX3" fmla="*/ 0 w 4659275"/>
              <a:gd name="connsiteY3" fmla="*/ 5144687 h 5146675"/>
              <a:gd name="connsiteX4" fmla="*/ 1886201 w 4659275"/>
              <a:gd name="connsiteY4" fmla="*/ 0 h 5146675"/>
              <a:gd name="connsiteX0" fmla="*/ 1886201 w 4659275"/>
              <a:gd name="connsiteY0" fmla="*/ 0 h 5144687"/>
              <a:gd name="connsiteX1" fmla="*/ 4659275 w 4659275"/>
              <a:gd name="connsiteY1" fmla="*/ 3175 h 5144687"/>
              <a:gd name="connsiteX2" fmla="*/ 4591542 w 4659275"/>
              <a:gd name="connsiteY2" fmla="*/ 5086199 h 5144687"/>
              <a:gd name="connsiteX3" fmla="*/ 0 w 4659275"/>
              <a:gd name="connsiteY3" fmla="*/ 5144687 h 5144687"/>
              <a:gd name="connsiteX4" fmla="*/ 1886201 w 4659275"/>
              <a:gd name="connsiteY4" fmla="*/ 0 h 5144687"/>
              <a:gd name="connsiteX0" fmla="*/ 1886201 w 4661694"/>
              <a:gd name="connsiteY0" fmla="*/ 0 h 5144687"/>
              <a:gd name="connsiteX1" fmla="*/ 4659275 w 4661694"/>
              <a:gd name="connsiteY1" fmla="*/ 3175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886201 w 4661694"/>
              <a:gd name="connsiteY0" fmla="*/ 0 h 5144687"/>
              <a:gd name="connsiteX1" fmla="*/ 4625408 w 4661694"/>
              <a:gd name="connsiteY1" fmla="*/ 41880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886201 w 4661694"/>
              <a:gd name="connsiteY0" fmla="*/ 0 h 5144687"/>
              <a:gd name="connsiteX1" fmla="*/ 4659275 w 4661694"/>
              <a:gd name="connsiteY1" fmla="*/ 3175 h 5144687"/>
              <a:gd name="connsiteX2" fmla="*/ 4661694 w 4661694"/>
              <a:gd name="connsiteY2" fmla="*/ 5144256 h 5144687"/>
              <a:gd name="connsiteX3" fmla="*/ 0 w 4661694"/>
              <a:gd name="connsiteY3" fmla="*/ 5144687 h 5144687"/>
              <a:gd name="connsiteX4" fmla="*/ 1886201 w 4661694"/>
              <a:gd name="connsiteY4" fmla="*/ 0 h 5144687"/>
              <a:gd name="connsiteX0" fmla="*/ 1900716 w 4661694"/>
              <a:gd name="connsiteY0" fmla="*/ 37949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900716 w 4661694"/>
              <a:gd name="connsiteY4" fmla="*/ 37949 h 514151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1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6201 w 4661694"/>
              <a:gd name="connsiteY0" fmla="*/ 1663 h 5143462"/>
              <a:gd name="connsiteX1" fmla="*/ 4659275 w 4661694"/>
              <a:gd name="connsiteY1" fmla="*/ 0 h 5143462"/>
              <a:gd name="connsiteX2" fmla="*/ 4661694 w 4661694"/>
              <a:gd name="connsiteY2" fmla="*/ 5143462 h 5143462"/>
              <a:gd name="connsiteX3" fmla="*/ 0 w 4661694"/>
              <a:gd name="connsiteY3" fmla="*/ 5141512 h 5143462"/>
              <a:gd name="connsiteX4" fmla="*/ 1886201 w 4661694"/>
              <a:gd name="connsiteY4" fmla="*/ 1663 h 5143462"/>
              <a:gd name="connsiteX0" fmla="*/ 1886201 w 4661694"/>
              <a:gd name="connsiteY0" fmla="*/ 1663 h 5141512"/>
              <a:gd name="connsiteX1" fmla="*/ 4659275 w 4661694"/>
              <a:gd name="connsiteY1" fmla="*/ 0 h 5141512"/>
              <a:gd name="connsiteX2" fmla="*/ 4661694 w 4661694"/>
              <a:gd name="connsiteY2" fmla="*/ 5141080 h 5141512"/>
              <a:gd name="connsiteX3" fmla="*/ 0 w 4661694"/>
              <a:gd name="connsiteY3" fmla="*/ 5141512 h 5141512"/>
              <a:gd name="connsiteX4" fmla="*/ 1886201 w 4661694"/>
              <a:gd name="connsiteY4" fmla="*/ 1663 h 5141512"/>
              <a:gd name="connsiteX0" fmla="*/ 1888582 w 4664075"/>
              <a:gd name="connsiteY0" fmla="*/ 1663 h 5141512"/>
              <a:gd name="connsiteX1" fmla="*/ 4661656 w 4664075"/>
              <a:gd name="connsiteY1" fmla="*/ 0 h 5141512"/>
              <a:gd name="connsiteX2" fmla="*/ 4664075 w 4664075"/>
              <a:gd name="connsiteY2" fmla="*/ 5141080 h 5141512"/>
              <a:gd name="connsiteX3" fmla="*/ 0 w 4664075"/>
              <a:gd name="connsiteY3" fmla="*/ 5141512 h 5141512"/>
              <a:gd name="connsiteX4" fmla="*/ 1888582 w 4664075"/>
              <a:gd name="connsiteY4" fmla="*/ 1663 h 51415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64075" h="5141512">
                <a:moveTo>
                  <a:pt x="1888582" y="1663"/>
                </a:moveTo>
                <a:lnTo>
                  <a:pt x="4661656" y="0"/>
                </a:lnTo>
                <a:cubicBezTo>
                  <a:pt x="4662462" y="1713694"/>
                  <a:pt x="4663269" y="3427386"/>
                  <a:pt x="4664075" y="5141080"/>
                </a:cubicBezTo>
                <a:lnTo>
                  <a:pt x="0" y="5141512"/>
                </a:lnTo>
                <a:lnTo>
                  <a:pt x="1888582" y="166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anchor="b" anchorCtr="1"/>
          <a:lstStyle>
            <a:lvl1pPr marL="0" indent="0" algn="r">
              <a:buNone/>
              <a:defRPr sz="1000">
                <a:latin typeface="+mj-lt"/>
              </a:defRPr>
            </a:lvl1pPr>
          </a:lstStyle>
          <a:p>
            <a:r>
              <a:rPr lang="ru-RU" dirty="0"/>
              <a:t>Кликните иконку для вставки изображения. </a:t>
            </a:r>
            <a:br>
              <a:rPr lang="ru-RU" dirty="0"/>
            </a:br>
            <a:r>
              <a:rPr lang="ru-RU" dirty="0" err="1"/>
              <a:t>Кадрировать</a:t>
            </a:r>
            <a:r>
              <a:rPr lang="ru-RU" dirty="0"/>
              <a:t>, перемещать — в режиме «Обрезать»</a:t>
            </a:r>
          </a:p>
          <a:p>
            <a:endParaRPr lang="ru-RU" dirty="0"/>
          </a:p>
        </p:txBody>
      </p:sp>
      <p:sp>
        <p:nvSpPr>
          <p:cNvPr id="12" name="Прямоугольник 6">
            <a:extLst>
              <a:ext uri="{FF2B5EF4-FFF2-40B4-BE49-F238E27FC236}">
                <a16:creationId xmlns:a16="http://schemas.microsoft.com/office/drawing/2014/main" id="{BCA787DA-A3DE-47EB-A857-D05CDEA53D83}"/>
              </a:ext>
            </a:extLst>
          </p:cNvPr>
          <p:cNvSpPr/>
          <p:nvPr userDrawn="1"/>
        </p:nvSpPr>
        <p:spPr>
          <a:xfrm>
            <a:off x="0" y="-260"/>
            <a:ext cx="6369607" cy="5144660"/>
          </a:xfrm>
          <a:custGeom>
            <a:avLst/>
            <a:gdLst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6869152 w 6869152"/>
              <a:gd name="connsiteY2" fmla="*/ 686915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274528 w 6869152"/>
              <a:gd name="connsiteY2" fmla="*/ 6858001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6869152"/>
              <a:gd name="connsiteY0" fmla="*/ 0 h 6869153"/>
              <a:gd name="connsiteX1" fmla="*/ 6869152 w 6869152"/>
              <a:gd name="connsiteY1" fmla="*/ 0 h 6869153"/>
              <a:gd name="connsiteX2" fmla="*/ 4334177 w 6869152"/>
              <a:gd name="connsiteY2" fmla="*/ 6869153 h 6869153"/>
              <a:gd name="connsiteX3" fmla="*/ 0 w 6869152"/>
              <a:gd name="connsiteY3" fmla="*/ 6869152 h 6869153"/>
              <a:gd name="connsiteX4" fmla="*/ 0 w 6869152"/>
              <a:gd name="connsiteY4" fmla="*/ 0 h 6869153"/>
              <a:gd name="connsiteX0" fmla="*/ 0 w 6869152"/>
              <a:gd name="connsiteY0" fmla="*/ 0 h 6869152"/>
              <a:gd name="connsiteX1" fmla="*/ 6869152 w 6869152"/>
              <a:gd name="connsiteY1" fmla="*/ 0 h 6869152"/>
              <a:gd name="connsiteX2" fmla="*/ 5371493 w 6869152"/>
              <a:gd name="connsiteY2" fmla="*/ 6858002 h 6869152"/>
              <a:gd name="connsiteX3" fmla="*/ 0 w 6869152"/>
              <a:gd name="connsiteY3" fmla="*/ 6869152 h 6869152"/>
              <a:gd name="connsiteX4" fmla="*/ 0 w 6869152"/>
              <a:gd name="connsiteY4" fmla="*/ 0 h 6869152"/>
              <a:gd name="connsiteX0" fmla="*/ 0 w 7632391"/>
              <a:gd name="connsiteY0" fmla="*/ 0 h 6869152"/>
              <a:gd name="connsiteX1" fmla="*/ 7632391 w 7632391"/>
              <a:gd name="connsiteY1" fmla="*/ 11151 h 6869152"/>
              <a:gd name="connsiteX2" fmla="*/ 5371493 w 7632391"/>
              <a:gd name="connsiteY2" fmla="*/ 6858002 h 6869152"/>
              <a:gd name="connsiteX3" fmla="*/ 0 w 7632391"/>
              <a:gd name="connsiteY3" fmla="*/ 6869152 h 6869152"/>
              <a:gd name="connsiteX4" fmla="*/ 0 w 7632391"/>
              <a:gd name="connsiteY4" fmla="*/ 0 h 6869152"/>
              <a:gd name="connsiteX0" fmla="*/ 0 w 7629198"/>
              <a:gd name="connsiteY0" fmla="*/ 0 h 6869152"/>
              <a:gd name="connsiteX1" fmla="*/ 7629198 w 7629198"/>
              <a:gd name="connsiteY1" fmla="*/ 21754 h 6869152"/>
              <a:gd name="connsiteX2" fmla="*/ 5371493 w 7629198"/>
              <a:gd name="connsiteY2" fmla="*/ 6858002 h 6869152"/>
              <a:gd name="connsiteX3" fmla="*/ 0 w 7629198"/>
              <a:gd name="connsiteY3" fmla="*/ 6869152 h 6869152"/>
              <a:gd name="connsiteX4" fmla="*/ 0 w 7629198"/>
              <a:gd name="connsiteY4" fmla="*/ 0 h 6869152"/>
              <a:gd name="connsiteX0" fmla="*/ 31928 w 7629198"/>
              <a:gd name="connsiteY0" fmla="*/ 2065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1928 w 7629198"/>
              <a:gd name="connsiteY4" fmla="*/ 20655 h 6847398"/>
              <a:gd name="connsiteX0" fmla="*/ 0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0 w 7629198"/>
              <a:gd name="connsiteY4" fmla="*/ 2985 h 6847398"/>
              <a:gd name="connsiteX0" fmla="*/ 34766 w 7629198"/>
              <a:gd name="connsiteY0" fmla="*/ 31848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34766 w 7629198"/>
              <a:gd name="connsiteY4" fmla="*/ 31848 h 6847398"/>
              <a:gd name="connsiteX0" fmla="*/ 2897 w 7629198"/>
              <a:gd name="connsiteY0" fmla="*/ 2985 h 6847398"/>
              <a:gd name="connsiteX1" fmla="*/ 7629198 w 7629198"/>
              <a:gd name="connsiteY1" fmla="*/ 0 h 6847398"/>
              <a:gd name="connsiteX2" fmla="*/ 5371493 w 7629198"/>
              <a:gd name="connsiteY2" fmla="*/ 6836248 h 6847398"/>
              <a:gd name="connsiteX3" fmla="*/ 0 w 7629198"/>
              <a:gd name="connsiteY3" fmla="*/ 6847398 h 6847398"/>
              <a:gd name="connsiteX4" fmla="*/ 2897 w 7629198"/>
              <a:gd name="connsiteY4" fmla="*/ 2985 h 6847398"/>
              <a:gd name="connsiteX0" fmla="*/ 19 w 7626320"/>
              <a:gd name="connsiteY0" fmla="*/ 2985 h 6836248"/>
              <a:gd name="connsiteX1" fmla="*/ 7626320 w 7626320"/>
              <a:gd name="connsiteY1" fmla="*/ 0 h 6836248"/>
              <a:gd name="connsiteX2" fmla="*/ 5368615 w 7626320"/>
              <a:gd name="connsiteY2" fmla="*/ 6836248 h 6836248"/>
              <a:gd name="connsiteX3" fmla="*/ 34785 w 7626320"/>
              <a:gd name="connsiteY3" fmla="*/ 6786467 h 6836248"/>
              <a:gd name="connsiteX4" fmla="*/ 19 w 7626320"/>
              <a:gd name="connsiteY4" fmla="*/ 2985 h 6836248"/>
              <a:gd name="connsiteX0" fmla="*/ 278 w 7626579"/>
              <a:gd name="connsiteY0" fmla="*/ 2985 h 6836248"/>
              <a:gd name="connsiteX1" fmla="*/ 7626579 w 7626579"/>
              <a:gd name="connsiteY1" fmla="*/ 0 h 6836248"/>
              <a:gd name="connsiteX2" fmla="*/ 5368874 w 7626579"/>
              <a:gd name="connsiteY2" fmla="*/ 6836248 h 6836248"/>
              <a:gd name="connsiteX3" fmla="*/ 278 w 7626579"/>
              <a:gd name="connsiteY3" fmla="*/ 6818536 h 6836248"/>
              <a:gd name="connsiteX4" fmla="*/ 278 w 7626579"/>
              <a:gd name="connsiteY4" fmla="*/ 2985 h 6836248"/>
              <a:gd name="connsiteX0" fmla="*/ 278 w 7626579"/>
              <a:gd name="connsiteY0" fmla="*/ 2985 h 6818536"/>
              <a:gd name="connsiteX1" fmla="*/ 7626579 w 7626579"/>
              <a:gd name="connsiteY1" fmla="*/ 0 h 6818536"/>
              <a:gd name="connsiteX2" fmla="*/ 5368874 w 7626579"/>
              <a:gd name="connsiteY2" fmla="*/ 6817007 h 6818536"/>
              <a:gd name="connsiteX3" fmla="*/ 278 w 7626579"/>
              <a:gd name="connsiteY3" fmla="*/ 6818536 h 6818536"/>
              <a:gd name="connsiteX4" fmla="*/ 278 w 7626579"/>
              <a:gd name="connsiteY4" fmla="*/ 2985 h 6818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26579" h="6818536">
                <a:moveTo>
                  <a:pt x="278" y="2985"/>
                </a:moveTo>
                <a:lnTo>
                  <a:pt x="7626579" y="0"/>
                </a:lnTo>
                <a:lnTo>
                  <a:pt x="5368874" y="6817007"/>
                </a:lnTo>
                <a:lnTo>
                  <a:pt x="278" y="6818536"/>
                </a:lnTo>
                <a:cubicBezTo>
                  <a:pt x="1244" y="4537065"/>
                  <a:pt x="-688" y="2284456"/>
                  <a:pt x="278" y="2985"/>
                </a:cubicBezTo>
                <a:close/>
              </a:path>
            </a:pathLst>
          </a:custGeom>
          <a:solidFill>
            <a:srgbClr val="65BB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Заголовок 17">
            <a:extLst>
              <a:ext uri="{FF2B5EF4-FFF2-40B4-BE49-F238E27FC236}">
                <a16:creationId xmlns:a16="http://schemas.microsoft.com/office/drawing/2014/main" id="{6532E21D-1451-2741-BE0C-891390FA189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5639" y="1772428"/>
            <a:ext cx="5874762" cy="1446550"/>
          </a:xfrm>
          <a:prstGeom prst="rect">
            <a:avLst/>
          </a:prstGeom>
        </p:spPr>
        <p:txBody>
          <a:bodyPr wrap="square" lIns="0">
            <a:spAutoFit/>
          </a:bodyPr>
          <a:lstStyle>
            <a:lvl1pPr algn="l">
              <a:defRPr sz="4400" b="0" i="0">
                <a:solidFill>
                  <a:schemeClr val="bg1"/>
                </a:solidFill>
                <a:latin typeface="Rostelecom Basis Medium" panose="020B0503030604040103" pitchFamily="34" charset="0"/>
              </a:defRPr>
            </a:lvl1pPr>
          </a:lstStyle>
          <a:p>
            <a:r>
              <a:rPr lang="ru-RU" dirty="0"/>
              <a:t>Кликните, чтобы добавить заголовок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1C3D3B-4C5E-F54D-843F-6DA264429CF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36045" y="3361290"/>
            <a:ext cx="4371975" cy="534988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 b="0" i="0">
                <a:solidFill>
                  <a:schemeClr val="bg1"/>
                </a:solidFill>
                <a:latin typeface="Rostelecom Basis" panose="020B0503030604040103" pitchFamily="34" charset="0"/>
              </a:defRPr>
            </a:lvl1pPr>
          </a:lstStyle>
          <a:p>
            <a:pPr lvl="0"/>
            <a:r>
              <a:rPr lang="ru-RU" dirty="0"/>
              <a:t>Введите подзаголовок</a:t>
            </a:r>
            <a:endParaRPr lang="en-US" dirty="0"/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F12F7A60-0C60-174F-A0F4-BCAD3AF53C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423" y="215526"/>
            <a:ext cx="720876" cy="1008236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EC0C4EDD-56AD-1F45-9B85-324A3D52DB2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2210" y="4538219"/>
            <a:ext cx="1421139" cy="3651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2441166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18" Type="http://schemas.openxmlformats.org/officeDocument/2006/relationships/slideLayout" Target="../slideLayouts/slideLayout39.xml"/><Relationship Id="rId3" Type="http://schemas.openxmlformats.org/officeDocument/2006/relationships/slideLayout" Target="../slideLayouts/slideLayout24.xml"/><Relationship Id="rId21" Type="http://schemas.openxmlformats.org/officeDocument/2006/relationships/slideLayout" Target="../slideLayouts/slideLayout42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17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3.xml"/><Relationship Id="rId16" Type="http://schemas.openxmlformats.org/officeDocument/2006/relationships/slideLayout" Target="../slideLayouts/slideLayout37.xml"/><Relationship Id="rId20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26.xml"/><Relationship Id="rId15" Type="http://schemas.openxmlformats.org/officeDocument/2006/relationships/slideLayout" Target="../slideLayouts/slideLayout36.xml"/><Relationship Id="rId23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31.xml"/><Relationship Id="rId19" Type="http://schemas.openxmlformats.org/officeDocument/2006/relationships/slideLayout" Target="../slideLayouts/slideLayout40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slideLayout" Target="../slideLayouts/slideLayout35.xml"/><Relationship Id="rId22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73.xml"/><Relationship Id="rId7" Type="http://schemas.openxmlformats.org/officeDocument/2006/relationships/slideLayout" Target="../slideLayouts/slideLayout77.xml"/><Relationship Id="rId2" Type="http://schemas.openxmlformats.org/officeDocument/2006/relationships/slideLayout" Target="../slideLayouts/slideLayout72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5.xml"/><Relationship Id="rId4" Type="http://schemas.openxmlformats.org/officeDocument/2006/relationships/slideLayout" Target="../slideLayouts/slideLayout74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2" Type="http://schemas.openxmlformats.org/officeDocument/2006/relationships/slideLayout" Target="../slideLayouts/slideLayout79.xml"/><Relationship Id="rId1" Type="http://schemas.openxmlformats.org/officeDocument/2006/relationships/slideLayout" Target="../slideLayouts/slideLayout78.xml"/><Relationship Id="rId5" Type="http://schemas.openxmlformats.org/officeDocument/2006/relationships/theme" Target="../theme/theme6.xml"/><Relationship Id="rId4" Type="http://schemas.openxmlformats.org/officeDocument/2006/relationships/slideLayout" Target="../slideLayouts/slideLayout8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52" r:id="rId1"/>
    <p:sldLayoutId id="2147483705" r:id="rId2"/>
    <p:sldLayoutId id="2147483817" r:id="rId3"/>
    <p:sldLayoutId id="2147483818" r:id="rId4"/>
    <p:sldLayoutId id="2147483823" r:id="rId5"/>
    <p:sldLayoutId id="2147483822" r:id="rId6"/>
    <p:sldLayoutId id="2147483824" r:id="rId7"/>
    <p:sldLayoutId id="2147483819" r:id="rId8"/>
    <p:sldLayoutId id="2147483733" r:id="rId9"/>
    <p:sldLayoutId id="2147483732" r:id="rId10"/>
    <p:sldLayoutId id="2147483731" r:id="rId11"/>
    <p:sldLayoutId id="2147483800" r:id="rId12"/>
    <p:sldLayoutId id="2147483709" r:id="rId13"/>
    <p:sldLayoutId id="2147483736" r:id="rId14"/>
    <p:sldLayoutId id="2147483737" r:id="rId15"/>
    <p:sldLayoutId id="2147483776" r:id="rId16"/>
    <p:sldLayoutId id="2147483801" r:id="rId17"/>
    <p:sldLayoutId id="2147483738" r:id="rId18"/>
    <p:sldLayoutId id="2147483827" r:id="rId19"/>
    <p:sldLayoutId id="2147483842" r:id="rId20"/>
    <p:sldLayoutId id="2147483843" r:id="rId21"/>
  </p:sldLayoutIdLst>
  <p:transition spd="med"/>
  <p:hf hdr="0" ftr="0" dt="0"/>
  <p:txStyles>
    <p:titleStyle>
      <a:lvl1pPr marL="0" marR="0" indent="0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1pPr>
      <a:lvl2pPr marL="0" marR="0" indent="85725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2pPr>
      <a:lvl3pPr marL="0" marR="0" indent="171450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3pPr>
      <a:lvl4pPr marL="0" marR="0" indent="257175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4pPr>
      <a:lvl5pPr marL="0" marR="0" indent="342900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5pPr>
      <a:lvl6pPr marL="0" marR="0" indent="428625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6pPr>
      <a:lvl7pPr marL="0" marR="0" indent="514350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7pPr>
      <a:lvl8pPr marL="0" marR="0" indent="600075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8pPr>
      <a:lvl9pPr marL="0" marR="0" indent="685800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Neue Medium"/>
        </a:defRPr>
      </a:lvl9pPr>
    </p:titleStyle>
    <p:bodyStyle>
      <a:lvl1pPr marL="238125" marR="0" indent="-238125" algn="l" defTabSz="309563" eaLnBrk="1" latinLnBrk="0" hangingPunct="1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1pPr>
      <a:lvl2pPr marL="476250" marR="0" indent="-238125" algn="l" defTabSz="309563" eaLnBrk="1" latinLnBrk="0" hangingPunct="1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2pPr>
      <a:lvl3pPr marL="714375" marR="0" indent="-238125" algn="l" defTabSz="309563" eaLnBrk="1" latinLnBrk="0" hangingPunct="1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3pPr>
      <a:lvl4pPr marL="952500" marR="0" indent="-238125" algn="l" defTabSz="309563" eaLnBrk="1" latinLnBrk="0" hangingPunct="1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4pPr>
      <a:lvl5pPr marL="1190625" marR="0" indent="-238125" algn="l" defTabSz="309563" eaLnBrk="1" latinLnBrk="0" hangingPunct="1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5pPr>
      <a:lvl6pPr marL="1428750" marR="0" indent="-238125" algn="l" defTabSz="309563" eaLnBrk="1" latinLnBrk="0" hangingPunct="1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6pPr>
      <a:lvl7pPr marL="1666875" marR="0" indent="-238125" algn="l" defTabSz="309563" eaLnBrk="1" latinLnBrk="0" hangingPunct="1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7pPr>
      <a:lvl8pPr marL="1905000" marR="0" indent="-238125" algn="l" defTabSz="309563" eaLnBrk="1" latinLnBrk="0" hangingPunct="1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8pPr>
      <a:lvl9pPr marL="2143125" marR="0" indent="-238125" algn="l" defTabSz="309563" eaLnBrk="1" latinLnBrk="0" hangingPunct="1">
        <a:lnSpc>
          <a:spcPct val="100000"/>
        </a:lnSpc>
        <a:spcBef>
          <a:spcPts val="2213"/>
        </a:spcBef>
        <a:spcAft>
          <a:spcPts val="0"/>
        </a:spcAft>
        <a:buClrTx/>
        <a:buSzPct val="125000"/>
        <a:buFontTx/>
        <a:buChar char="•"/>
        <a:tabLst/>
        <a:defRPr sz="1950" b="0" i="0" u="none" strike="noStrike" cap="none" spc="0" baseline="0">
          <a:ln>
            <a:noFill/>
          </a:ln>
          <a:solidFill>
            <a:srgbClr val="000000"/>
          </a:solidFill>
          <a:uFillTx/>
          <a:latin typeface="Helvetica Neue"/>
          <a:ea typeface="Helvetica Neue"/>
          <a:cs typeface="Helvetica Neue"/>
          <a:sym typeface="Helvetica Neue"/>
        </a:defRPr>
      </a:lvl9pPr>
    </p:bodyStyle>
    <p:otherStyle>
      <a:lvl1pPr marL="0" marR="0" indent="0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1pPr>
      <a:lvl2pPr marL="0" marR="0" indent="85725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2pPr>
      <a:lvl3pPr marL="0" marR="0" indent="171450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3pPr>
      <a:lvl4pPr marL="0" marR="0" indent="257175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4pPr>
      <a:lvl5pPr marL="0" marR="0" indent="342900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5pPr>
      <a:lvl6pPr marL="0" marR="0" indent="428625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6pPr>
      <a:lvl7pPr marL="0" marR="0" indent="514350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7pPr>
      <a:lvl8pPr marL="0" marR="0" indent="600075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8pPr>
      <a:lvl9pPr marL="0" marR="0" indent="685800" algn="ctr" defTabSz="309563" rtl="0" eaLnBrk="1" latinLnBrk="0" hangingPunct="1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9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Neue Light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72819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802" r:id="rId2"/>
    <p:sldLayoutId id="2147483803" r:id="rId3"/>
    <p:sldLayoutId id="2147483804" r:id="rId4"/>
    <p:sldLayoutId id="2147483805" r:id="rId5"/>
    <p:sldLayoutId id="2147483782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791" r:id="rId12"/>
    <p:sldLayoutId id="2147483811" r:id="rId13"/>
    <p:sldLayoutId id="2147483812" r:id="rId14"/>
    <p:sldLayoutId id="2147483813" r:id="rId15"/>
    <p:sldLayoutId id="2147483814" r:id="rId16"/>
    <p:sldLayoutId id="2147483783" r:id="rId17"/>
    <p:sldLayoutId id="2147483815" r:id="rId18"/>
    <p:sldLayoutId id="2147483816" r:id="rId19"/>
    <p:sldLayoutId id="2147483718" r:id="rId20"/>
    <p:sldLayoutId id="2147483820" r:id="rId21"/>
    <p:sldLayoutId id="2147483821" r:id="rId22"/>
    <p:sldLayoutId id="2147483844" r:id="rId23"/>
  </p:sldLayoutIdLst>
  <p:hf hdr="0" ftr="0" dt="0"/>
  <p:txStyles>
    <p:titleStyle>
      <a:lvl1pPr algn="l" defTabSz="342900" rtl="0" eaLnBrk="1" latinLnBrk="0" hangingPunct="1">
        <a:lnSpc>
          <a:spcPct val="90000"/>
        </a:lnSpc>
        <a:spcBef>
          <a:spcPct val="0"/>
        </a:spcBef>
        <a:buNone/>
        <a:defRPr sz="16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85725" indent="-85725" algn="l" defTabSz="3429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2862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3pPr>
      <a:lvl4pPr marL="60007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94297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11442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8587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45732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8572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0287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001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20269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85" r:id="rId2"/>
    <p:sldLayoutId id="2147483790" r:id="rId3"/>
    <p:sldLayoutId id="2147483784" r:id="rId4"/>
    <p:sldLayoutId id="2147483741" r:id="rId5"/>
    <p:sldLayoutId id="2147483786" r:id="rId6"/>
    <p:sldLayoutId id="2147483787" r:id="rId7"/>
  </p:sldLayoutIdLst>
  <p:hf hdr="0" ftr="0" dt="0"/>
  <p:txStyles>
    <p:titleStyle>
      <a:lvl1pPr algn="l" defTabSz="342900" rtl="0" eaLnBrk="1" latinLnBrk="0" hangingPunct="1">
        <a:lnSpc>
          <a:spcPct val="90000"/>
        </a:lnSpc>
        <a:spcBef>
          <a:spcPct val="0"/>
        </a:spcBef>
        <a:buNone/>
        <a:defRPr sz="16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85725" indent="-85725" algn="l" defTabSz="3429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1pPr>
      <a:lvl2pPr marL="25717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42862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750" kern="1200">
          <a:solidFill>
            <a:schemeClr val="tx1"/>
          </a:solidFill>
          <a:latin typeface="+mn-lt"/>
          <a:ea typeface="+mn-ea"/>
          <a:cs typeface="+mn-cs"/>
        </a:defRPr>
      </a:lvl3pPr>
      <a:lvl4pPr marL="60007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77152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94297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11442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8587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457325" indent="-85725" algn="l" defTabSz="342900" rtl="0" eaLnBrk="1" latinLnBrk="0" hangingPunct="1">
        <a:lnSpc>
          <a:spcPct val="90000"/>
        </a:lnSpc>
        <a:spcBef>
          <a:spcPts val="188"/>
        </a:spcBef>
        <a:buFont typeface="Arial"/>
        <a:buChar char="•"/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2pPr>
      <a:lvl3pPr marL="3429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3pPr>
      <a:lvl4pPr marL="5143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4pPr>
      <a:lvl5pPr marL="6858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5pPr>
      <a:lvl6pPr marL="8572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6pPr>
      <a:lvl7pPr marL="10287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120015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8pPr>
      <a:lvl9pPr marL="1371600" algn="l" defTabSz="342900" rtl="0" eaLnBrk="1" latinLnBrk="0" hangingPunct="1">
        <a:defRPr sz="67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979692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744" r:id="rId2"/>
    <p:sldLayoutId id="2147483829" r:id="rId3"/>
    <p:sldLayoutId id="2147483745" r:id="rId4"/>
    <p:sldLayoutId id="2147483830" r:id="rId5"/>
    <p:sldLayoutId id="2147483747" r:id="rId6"/>
    <p:sldLayoutId id="2147483749" r:id="rId7"/>
    <p:sldLayoutId id="2147483750" r:id="rId8"/>
    <p:sldLayoutId id="2147483751" r:id="rId9"/>
    <p:sldLayoutId id="2147483753" r:id="rId10"/>
    <p:sldLayoutId id="2147483754" r:id="rId11"/>
    <p:sldLayoutId id="2147483755" r:id="rId12"/>
    <p:sldLayoutId id="2147483756" r:id="rId13"/>
    <p:sldLayoutId id="2147483758" r:id="rId14"/>
    <p:sldLayoutId id="2147483760" r:id="rId15"/>
    <p:sldLayoutId id="2147483761" r:id="rId16"/>
    <p:sldLayoutId id="2147483762" r:id="rId17"/>
    <p:sldLayoutId id="2147483832" r:id="rId18"/>
    <p:sldLayoutId id="2147483833" r:id="rId1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81693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765" r:id="rId3"/>
    <p:sldLayoutId id="2147483766" r:id="rId4"/>
    <p:sldLayoutId id="2147483767" r:id="rId5"/>
    <p:sldLayoutId id="2147483768" r:id="rId6"/>
    <p:sldLayoutId id="2147483769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710114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32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sv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36.svg"/><Relationship Id="rId5" Type="http://schemas.openxmlformats.org/officeDocument/2006/relationships/image" Target="../media/image35.png"/><Relationship Id="rId4" Type="http://schemas.openxmlformats.org/officeDocument/2006/relationships/image" Target="../media/image34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40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43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45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4" Type="http://schemas.openxmlformats.org/officeDocument/2006/relationships/image" Target="../media/image47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52.sv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1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.bin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54.svg"/><Relationship Id="rId5" Type="http://schemas.openxmlformats.org/officeDocument/2006/relationships/image" Target="../media/image53.png"/><Relationship Id="rId4" Type="http://schemas.openxmlformats.org/officeDocument/2006/relationships/image" Target="../media/image38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57.svg"/><Relationship Id="rId4" Type="http://schemas.openxmlformats.org/officeDocument/2006/relationships/image" Target="../media/image5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svg"/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59.svg"/><Relationship Id="rId4" Type="http://schemas.openxmlformats.org/officeDocument/2006/relationships/image" Target="../media/image5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3.svg"/><Relationship Id="rId4" Type="http://schemas.openxmlformats.org/officeDocument/2006/relationships/image" Target="../media/image6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5.svg"/><Relationship Id="rId4" Type="http://schemas.openxmlformats.org/officeDocument/2006/relationships/image" Target="../media/image64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7.svg"/><Relationship Id="rId4" Type="http://schemas.openxmlformats.org/officeDocument/2006/relationships/image" Target="../media/image6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7.svg"/><Relationship Id="rId4" Type="http://schemas.openxmlformats.org/officeDocument/2006/relationships/image" Target="../media/image66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svg"/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69.svg"/><Relationship Id="rId4" Type="http://schemas.openxmlformats.org/officeDocument/2006/relationships/image" Target="../media/image68.pn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sv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71.svg"/><Relationship Id="rId4" Type="http://schemas.openxmlformats.org/officeDocument/2006/relationships/image" Target="../media/image70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73.sv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59.svg"/><Relationship Id="rId5" Type="http://schemas.openxmlformats.org/officeDocument/2006/relationships/image" Target="../media/image58.png"/><Relationship Id="rId4" Type="http://schemas.openxmlformats.org/officeDocument/2006/relationships/image" Target="../media/image73.svg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7.xml"/><Relationship Id="rId4" Type="http://schemas.openxmlformats.org/officeDocument/2006/relationships/image" Target="../media/image21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7" Type="http://schemas.openxmlformats.org/officeDocument/2006/relationships/image" Target="../media/image24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3.xml"/><Relationship Id="rId4" Type="http://schemas.openxmlformats.org/officeDocument/2006/relationships/image" Target="../media/image26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6B567BA-C0DB-4EE4-9939-94D19E383A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5639" y="1848475"/>
            <a:ext cx="5874762" cy="1446550"/>
          </a:xfrm>
        </p:spPr>
        <p:txBody>
          <a:bodyPr/>
          <a:lstStyle/>
          <a:p>
            <a:r>
              <a:rPr lang="ru-RU" dirty="0"/>
              <a:t>Основы </a:t>
            </a:r>
            <a:r>
              <a:rPr lang="ru-RU" dirty="0" err="1"/>
              <a:t>кибергигиены</a:t>
            </a:r>
            <a:endParaRPr lang="ru-RU" dirty="0"/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1DCA4C01-CEBE-448F-A9E3-9EA201CC8848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3633886974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C46F2C-FA71-46A3-8228-81442AA7D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478" y="194420"/>
            <a:ext cx="3403815" cy="646331"/>
          </a:xfrm>
          <a:noFill/>
        </p:spPr>
        <p:txBody>
          <a:bodyPr/>
          <a:lstStyle/>
          <a:p>
            <a:r>
              <a:rPr lang="ru-RU" sz="2400" dirty="0">
                <a:solidFill>
                  <a:srgbClr val="8600FF"/>
                </a:solidFill>
              </a:rPr>
              <a:t>Беспечность</a:t>
            </a: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CEE57E32-BA27-4014-A09D-F9D54C33E136}"/>
              </a:ext>
            </a:extLst>
          </p:cNvPr>
          <p:cNvSpPr/>
          <p:nvPr/>
        </p:nvSpPr>
        <p:spPr>
          <a:xfrm>
            <a:off x="85060" y="4221126"/>
            <a:ext cx="2041452" cy="797441"/>
          </a:xfrm>
          <a:prstGeom prst="rect">
            <a:avLst/>
          </a:prstGeom>
          <a:solidFill>
            <a:srgbClr val="001C4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4CD04C51-7FFE-4F14-BCEB-705B1FE0A60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840608" y="933964"/>
            <a:ext cx="5462784" cy="3411721"/>
          </a:xfrm>
          <a:prstGeom prst="rect">
            <a:avLst/>
          </a:prstGeom>
        </p:spPr>
      </p:pic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E9A19961-83A7-478D-A59B-4C46BDC2884D}"/>
              </a:ext>
            </a:extLst>
          </p:cNvPr>
          <p:cNvSpPr txBox="1">
            <a:spLocks/>
          </p:cNvSpPr>
          <p:nvPr/>
        </p:nvSpPr>
        <p:spPr>
          <a:xfrm>
            <a:off x="7547773" y="4701810"/>
            <a:ext cx="2057400" cy="273844"/>
          </a:xfrm>
          <a:prstGeom prst="rect">
            <a:avLst/>
          </a:prstGeom>
        </p:spPr>
        <p:txBody>
          <a:bodyPr/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857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1714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2571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3429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4286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5143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6000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6858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B6F15528-21DE-4FAA-801E-634DDDAF4B2B}" type="slidenum">
              <a:rPr lang="ru-RU" smtClean="0">
                <a:solidFill>
                  <a:schemeClr val="bg1"/>
                </a:solidFill>
                <a:latin typeface="Rostelecom Basis Medium" panose="020B0603030604040103" pitchFamily="34" charset="0"/>
              </a:rPr>
              <a:pPr/>
              <a:t>10</a:t>
            </a:fld>
            <a:endParaRPr lang="ru-RU" dirty="0">
              <a:solidFill>
                <a:schemeClr val="bg1"/>
              </a:solidFill>
              <a:latin typeface="Rostelecom Basis Medium" panose="020B06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311642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1D11B6A5-4B5A-402A-8D2D-C4334A4C9DC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3900910">
            <a:off x="-2388226" y="1470257"/>
            <a:ext cx="5459201" cy="3533591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037FDDB6-2EE8-4B6F-A7D6-3A613B9ABB0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4545305">
            <a:off x="3148483" y="3224500"/>
            <a:ext cx="5459201" cy="3533591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3B9DEB70-D8FD-44D3-8C52-F6F20DFF9DD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9580748">
            <a:off x="4105517" y="567301"/>
            <a:ext cx="5259274" cy="3404184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24993" y="251095"/>
            <a:ext cx="8219998" cy="46166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altLang="ru-RU" dirty="0">
                <a:latin typeface="Rostelecom Basis Medium" panose="020B0603030604040103" pitchFamily="34" charset="0"/>
                <a:ea typeface="Verdana" panose="020B0604030504040204" pitchFamily="34" charset="0"/>
                <a:cs typeface="Tahoma" panose="020B0604030504040204" pitchFamily="34" charset="0"/>
              </a:rPr>
              <a:t>Как узнать что я заражен?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CD589F00-1C24-4D35-8DD9-9FF3FD40942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2382990">
            <a:off x="534888" y="1269702"/>
            <a:ext cx="1268824" cy="1193894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5CD9820A-45C6-496A-B818-0ADFB473F2C9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3670450">
            <a:off x="1962913" y="3404905"/>
            <a:ext cx="891865" cy="839196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6949B74-7267-447B-B466-6B3F39802DF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6185373">
            <a:off x="7875330" y="416851"/>
            <a:ext cx="842950" cy="793169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2071A737-4079-43D2-81C9-6CE64457A8C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3525278">
            <a:off x="6757271" y="4017048"/>
            <a:ext cx="891865" cy="839196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69D07B2F-74CF-4592-898C-7FB95577FE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7211697">
            <a:off x="4529296" y="1644329"/>
            <a:ext cx="1666871" cy="1568434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747BC30C-85D6-4AC9-8BA7-04D54EFD76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6592140">
            <a:off x="-1264608" y="3267448"/>
            <a:ext cx="5459201" cy="3533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63163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Рисунок 20">
            <a:extLst>
              <a:ext uri="{FF2B5EF4-FFF2-40B4-BE49-F238E27FC236}">
                <a16:creationId xmlns:a16="http://schemas.microsoft.com/office/drawing/2014/main" id="{189BF296-4120-438A-AF99-F9FE06003B9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58063" y="1008826"/>
            <a:ext cx="4988705" cy="3250721"/>
          </a:xfrm>
          <a:prstGeom prst="rect">
            <a:avLst/>
          </a:prstGeom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24993" y="251095"/>
            <a:ext cx="8219998" cy="46166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altLang="ru-RU" dirty="0">
                <a:latin typeface="Rostelecom Basis Medium" panose="020B0603030604040103" pitchFamily="34" charset="0"/>
                <a:ea typeface="Verdana" panose="020B0604030504040204" pitchFamily="34" charset="0"/>
                <a:cs typeface="Tahoma" panose="020B0604030504040204" pitchFamily="34" charset="0"/>
              </a:rPr>
              <a:t>Как узнать что я заражен?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F5E5CC5-7775-453F-B8CA-1C640E43FF58}"/>
              </a:ext>
            </a:extLst>
          </p:cNvPr>
          <p:cNvSpPr txBox="1"/>
          <p:nvPr/>
        </p:nvSpPr>
        <p:spPr>
          <a:xfrm>
            <a:off x="2684994" y="1578129"/>
            <a:ext cx="4334841" cy="211211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400" b="0" dirty="0">
                <a:latin typeface="Rostelecom Basis Medium" panose="020B0603030604040103" pitchFamily="34" charset="0"/>
              </a:rPr>
              <a:t>С вероятностью</a:t>
            </a:r>
            <a:endParaRPr lang="ru-RU" sz="2400" b="0" dirty="0">
              <a:solidFill>
                <a:srgbClr val="FF0000"/>
              </a:solidFill>
              <a:latin typeface="Rostelecom Basis Medium" panose="020B0603030604040103" pitchFamily="34" charset="0"/>
            </a:endParaRPr>
          </a:p>
          <a:p>
            <a:r>
              <a:rPr lang="ru-RU" sz="8625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90%</a:t>
            </a:r>
          </a:p>
          <a:p>
            <a:r>
              <a:rPr lang="ru-RU" sz="2100" b="0" dirty="0">
                <a:latin typeface="Rostelecom Basis Medium" panose="020B0603030604040103" pitchFamily="34" charset="0"/>
              </a:rPr>
              <a:t>вы не узнаете, что вы взломаны!</a:t>
            </a:r>
          </a:p>
        </p:txBody>
      </p:sp>
    </p:spTree>
    <p:extLst>
      <p:ext uri="{BB962C8B-B14F-4D97-AF65-F5344CB8AC3E}">
        <p14:creationId xmlns:p14="http://schemas.microsoft.com/office/powerpoint/2010/main" val="224319734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24993" y="251095"/>
            <a:ext cx="8219998" cy="46166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altLang="ru-RU" dirty="0">
                <a:latin typeface="Rostelecom Basis Medium" panose="020B0603030604040103" pitchFamily="34" charset="0"/>
                <a:ea typeface="Verdana" panose="020B0604030504040204" pitchFamily="34" charset="0"/>
                <a:cs typeface="Tahoma" panose="020B0604030504040204" pitchFamily="34" charset="0"/>
              </a:rPr>
              <a:t>Как узнать что я заражен?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Объект 2">
            <a:extLst>
              <a:ext uri="{FF2B5EF4-FFF2-40B4-BE49-F238E27FC236}">
                <a16:creationId xmlns:a16="http://schemas.microsoft.com/office/drawing/2014/main" id="{F862D198-ADDC-4598-BEF7-3C7C7EF89D2D}"/>
              </a:ext>
            </a:extLst>
          </p:cNvPr>
          <p:cNvSpPr txBox="1">
            <a:spLocks/>
          </p:cNvSpPr>
          <p:nvPr/>
        </p:nvSpPr>
        <p:spPr>
          <a:xfrm>
            <a:off x="222873" y="1486924"/>
            <a:ext cx="4544348" cy="3020839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Сообщения антивирусов</a:t>
            </a:r>
          </a:p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Правила переадресация почты, которые вы не ставили</a:t>
            </a:r>
          </a:p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Запросы </a:t>
            </a:r>
            <a:r>
              <a:rPr lang="ru-RU" sz="1800" b="0" dirty="0" err="1">
                <a:solidFill>
                  <a:schemeClr val="tx1"/>
                </a:solidFill>
                <a:latin typeface="Rostelecom Basis" panose="020B0503030604040103" pitchFamily="34" charset="0"/>
              </a:rPr>
              <a:t>подтвержения</a:t>
            </a:r>
            <a:r>
              <a:rPr lang="ru-RU" sz="18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 входов со странных адресов или устройств</a:t>
            </a:r>
          </a:p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Сообщения всему вашему </a:t>
            </a:r>
            <a:br>
              <a:rPr lang="ru-RU" sz="1800" b="0" dirty="0">
                <a:solidFill>
                  <a:schemeClr val="tx1"/>
                </a:solidFill>
                <a:latin typeface="Rostelecom Basis" panose="020B0503030604040103" pitchFamily="34" charset="0"/>
              </a:rPr>
            </a:br>
            <a:r>
              <a:rPr lang="ru-RU" sz="1800" b="0" dirty="0" err="1">
                <a:solidFill>
                  <a:schemeClr val="tx1"/>
                </a:solidFill>
                <a:latin typeface="Rostelecom Basis" panose="020B0503030604040103" pitchFamily="34" charset="0"/>
              </a:rPr>
              <a:t>контак</a:t>
            </a:r>
            <a:r>
              <a:rPr lang="ru-RU" sz="18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-листу от вашего имени</a:t>
            </a:r>
          </a:p>
        </p:txBody>
      </p:sp>
      <p:pic>
        <p:nvPicPr>
          <p:cNvPr id="9" name="Picture 2" descr="http://po-teme.com.ua/images/63/image004.jpg">
            <a:extLst>
              <a:ext uri="{FF2B5EF4-FFF2-40B4-BE49-F238E27FC236}">
                <a16:creationId xmlns:a16="http://schemas.microsoft.com/office/drawing/2014/main" id="{8B907D77-31C8-4D58-9970-AC23C2C682C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70890" y="1249726"/>
            <a:ext cx="3573035" cy="2644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145036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4391952" y="180073"/>
            <a:ext cx="3997136" cy="4865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ru-RU" sz="16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Поскольку большинство сервисов </a:t>
            </a:r>
          </a:p>
          <a:p>
            <a:pPr algn="l"/>
            <a:r>
              <a:rPr lang="ru-RU" sz="16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для подтверждения входа или важных действий полагается именно на СМС, не держите телефон в одной сумке </a:t>
            </a:r>
          </a:p>
          <a:p>
            <a:pPr algn="l"/>
            <a:r>
              <a:rPr lang="ru-RU" sz="16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с ноутбуком – это будет слишком щедрым подарком ворам.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41376" y="721751"/>
            <a:ext cx="4150944" cy="3516629"/>
          </a:xfrm>
        </p:spPr>
        <p:txBody>
          <a:bodyPr anchor="t"/>
          <a:lstStyle/>
          <a:p>
            <a:pPr lvl="0"/>
            <a:endParaRPr lang="ru-RU" sz="1400" dirty="0"/>
          </a:p>
          <a:p>
            <a:pPr>
              <a:spcBef>
                <a:spcPts val="0"/>
              </a:spcBef>
            </a:pP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35104" y="265922"/>
            <a:ext cx="8219998" cy="461665"/>
          </a:xfrm>
        </p:spPr>
        <p:txBody>
          <a:bodyPr/>
          <a:lstStyle/>
          <a:p>
            <a:r>
              <a:rPr lang="ru-RU" dirty="0">
                <a:latin typeface="Rostelecom Basis Medium" panose="020B0603030604040103" pitchFamily="34" charset="0"/>
              </a:rPr>
              <a:t>Два ключа лучше, чем один!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95D2206-2FF3-40B5-A683-F72A27CD421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19749" y="1014218"/>
            <a:ext cx="3158680" cy="31971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618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480721" y="1216288"/>
            <a:ext cx="4150944" cy="3516629"/>
          </a:xfrm>
        </p:spPr>
        <p:txBody>
          <a:bodyPr anchor="t"/>
          <a:lstStyle/>
          <a:p>
            <a:pPr>
              <a:spcBef>
                <a:spcPts val="0"/>
              </a:spcBef>
              <a:spcAft>
                <a:spcPts val="900"/>
              </a:spcAft>
            </a:pP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  <a:latin typeface="Rostelecom Basis Medium" panose="020B0603030604040103" pitchFamily="34" charset="0"/>
              </a:rPr>
              <a:t>Четыре простых правила:</a:t>
            </a:r>
          </a:p>
          <a:p>
            <a:pPr marL="342892" indent="-342892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Каждому аккаунту </a:t>
            </a:r>
            <a:r>
              <a:rPr lang="en-US" sz="1600" dirty="0">
                <a:solidFill>
                  <a:prstClr val="black">
                    <a:lumMod val="75000"/>
                    <a:lumOff val="25000"/>
                  </a:prstClr>
                </a:solidFill>
              </a:rPr>
              <a:t>– </a:t>
            </a: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</a:rPr>
              <a:t>свой пароль</a:t>
            </a:r>
          </a:p>
          <a:p>
            <a:pPr marL="342892" indent="-342892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</a:rPr>
              <a:t>Сложный пароль</a:t>
            </a:r>
          </a:p>
          <a:p>
            <a:pPr marL="342892" indent="-342892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Пароль часто меняемый</a:t>
            </a:r>
          </a:p>
          <a:p>
            <a:pPr marL="342892" indent="-342892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600" dirty="0">
                <a:solidFill>
                  <a:prstClr val="black">
                    <a:lumMod val="75000"/>
                    <a:lumOff val="25000"/>
                  </a:prstClr>
                </a:solidFill>
              </a:rPr>
              <a:t>Меняемый с надежного устройства</a:t>
            </a:r>
          </a:p>
          <a:p>
            <a:pPr marL="342892" indent="-342892">
              <a:spcBef>
                <a:spcPts val="0"/>
              </a:spcBef>
              <a:spcAft>
                <a:spcPts val="900"/>
              </a:spcAft>
              <a:buFont typeface="+mj-lt"/>
              <a:buAutoNum type="arabicPeriod"/>
            </a:pPr>
            <a:endParaRPr lang="ru-RU" dirty="0">
              <a:solidFill>
                <a:prstClr val="black">
                  <a:lumMod val="75000"/>
                  <a:lumOff val="25000"/>
                </a:prstClr>
              </a:solidFill>
              <a:latin typeface="Rostelecom Basis regular 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34137" y="269383"/>
            <a:ext cx="8219998" cy="470656"/>
          </a:xfrm>
        </p:spPr>
        <p:txBody>
          <a:bodyPr/>
          <a:lstStyle/>
          <a:p>
            <a:pPr fontAlgn="base">
              <a:lnSpc>
                <a:spcPct val="100000"/>
              </a:lnSpc>
              <a:spcAft>
                <a:spcPct val="0"/>
              </a:spcAft>
            </a:pPr>
            <a:r>
              <a:rPr lang="ru-RU" altLang="ru-RU" dirty="0">
                <a:solidFill>
                  <a:prstClr val="black"/>
                </a:solidFill>
                <a:latin typeface="Rostelecom Basis Medium" panose="020B0603030604040103" pitchFamily="34" charset="0"/>
                <a:ea typeface="Verdana" panose="020B0604030504040204" pitchFamily="34" charset="0"/>
                <a:cs typeface="Tahoma" panose="020B0604030504040204" pitchFamily="34" charset="0"/>
              </a:rPr>
              <a:t>Правила парольной защиты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48505DB2-4A39-4288-B992-4D4519D74656}"/>
              </a:ext>
            </a:extLst>
          </p:cNvPr>
          <p:cNvSpPr txBox="1">
            <a:spLocks/>
          </p:cNvSpPr>
          <p:nvPr/>
        </p:nvSpPr>
        <p:spPr>
          <a:xfrm>
            <a:off x="480721" y="3881241"/>
            <a:ext cx="1340892" cy="329406"/>
          </a:xfrm>
          <a:prstGeom prst="rect">
            <a:avLst/>
          </a:prstGeom>
          <a:solidFill>
            <a:srgbClr val="8600FF">
              <a:alpha val="10196"/>
            </a:srgbClr>
          </a:solidFill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ru-RU" sz="1800" dirty="0">
                <a:solidFill>
                  <a:srgbClr val="8600FF"/>
                </a:solidFill>
                <a:latin typeface="Rostelecom Basis" panose="020B0503030604040103" pitchFamily="34" charset="0"/>
              </a:rPr>
              <a:t>12345678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0268106E-7346-4EA7-BE09-173316737CBA}"/>
              </a:ext>
            </a:extLst>
          </p:cNvPr>
          <p:cNvSpPr txBox="1">
            <a:spLocks/>
          </p:cNvSpPr>
          <p:nvPr/>
        </p:nvSpPr>
        <p:spPr>
          <a:xfrm>
            <a:off x="2045190" y="3881241"/>
            <a:ext cx="3040038" cy="329406"/>
          </a:xfrm>
          <a:prstGeom prst="rect">
            <a:avLst/>
          </a:prstGeom>
          <a:solidFill>
            <a:srgbClr val="8600FF">
              <a:alpha val="10196"/>
            </a:srgbClr>
          </a:solidFill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sz="1800" dirty="0" err="1">
                <a:solidFill>
                  <a:srgbClr val="8600FF"/>
                </a:solidFill>
                <a:latin typeface="Rostelecom Basis" panose="020B0503030604040103" pitchFamily="34" charset="0"/>
              </a:rPr>
              <a:t>Jxtym</a:t>
            </a:r>
            <a:r>
              <a:rPr lang="en-US" sz="1800" dirty="0">
                <a:solidFill>
                  <a:srgbClr val="8600FF"/>
                </a:solidFill>
                <a:latin typeface="Rostelecom Basis" panose="020B0503030604040103" pitchFamily="34" charset="0"/>
              </a:rPr>
              <a:t> </a:t>
            </a:r>
            <a:r>
              <a:rPr lang="en-US" sz="1800" dirty="0" err="1">
                <a:solidFill>
                  <a:srgbClr val="8600FF"/>
                </a:solidFill>
                <a:latin typeface="Rostelecom Basis" panose="020B0503030604040103" pitchFamily="34" charset="0"/>
              </a:rPr>
              <a:t>ckj;ysq</a:t>
            </a:r>
            <a:r>
              <a:rPr lang="en-US" sz="1800" dirty="0">
                <a:solidFill>
                  <a:srgbClr val="8600FF"/>
                </a:solidFill>
                <a:latin typeface="Rostelecom Basis" panose="020B0503030604040103" pitchFamily="34" charset="0"/>
              </a:rPr>
              <a:t> </a:t>
            </a:r>
            <a:r>
              <a:rPr lang="en-US" sz="1800" dirty="0" err="1">
                <a:solidFill>
                  <a:srgbClr val="8600FF"/>
                </a:solidFill>
                <a:latin typeface="Rostelecom Basis" panose="020B0503030604040103" pitchFamily="34" charset="0"/>
              </a:rPr>
              <a:t>gfhjkm</a:t>
            </a:r>
            <a:endParaRPr lang="ru-RU" sz="1800" dirty="0">
              <a:solidFill>
                <a:srgbClr val="8600FF"/>
              </a:solidFill>
              <a:latin typeface="Rostelecom Basis" panose="020B0503030604040103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58B2B630-06C0-415D-A85F-99D7C5B101E7}"/>
              </a:ext>
            </a:extLst>
          </p:cNvPr>
          <p:cNvSpPr txBox="1">
            <a:spLocks/>
          </p:cNvSpPr>
          <p:nvPr/>
        </p:nvSpPr>
        <p:spPr>
          <a:xfrm>
            <a:off x="5308805" y="3881241"/>
            <a:ext cx="1125939" cy="329406"/>
          </a:xfrm>
          <a:prstGeom prst="rect">
            <a:avLst/>
          </a:prstGeom>
          <a:solidFill>
            <a:srgbClr val="8600FF">
              <a:alpha val="10196"/>
            </a:srgbClr>
          </a:solidFill>
        </p:spPr>
        <p:txBody>
          <a:bodyPr vert="horz" lIns="68580" tIns="34290" rIns="68580" bIns="3429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r>
              <a:rPr lang="en-US" sz="1800" dirty="0">
                <a:solidFill>
                  <a:srgbClr val="8600FF"/>
                </a:solidFill>
                <a:latin typeface="Rostelecom Basis" panose="020B0503030604040103" pitchFamily="34" charset="0"/>
              </a:rPr>
              <a:t>7ftx3#</a:t>
            </a:r>
            <a:endParaRPr lang="ru-RU" sz="1800" dirty="0">
              <a:solidFill>
                <a:srgbClr val="8600FF"/>
              </a:solidFill>
              <a:latin typeface="Rostelecom Basis" panose="020B0503030604040103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8BBAA865-D54B-4AD6-9002-C1CC1F2139C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58321" y="319081"/>
            <a:ext cx="2228535" cy="38915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807245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918404AD-21EA-4350-8F37-13548ABFD10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9419585">
            <a:off x="5423846" y="-1447324"/>
            <a:ext cx="5507315" cy="3175217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048B8AA8-D1FF-4DDF-86DF-C78E1E4A66D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213562">
            <a:off x="6791400" y="631542"/>
            <a:ext cx="5507315" cy="3175217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EF516C39-864E-45C0-B7F9-EBFA3CDF45F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460682">
            <a:off x="6665847" y="1820436"/>
            <a:ext cx="366134" cy="467405"/>
          </a:xfrm>
          <a:prstGeom prst="rect">
            <a:avLst/>
          </a:prstGeom>
        </p:spPr>
      </p:pic>
      <p:sp>
        <p:nvSpPr>
          <p:cNvPr id="10" name="Прямоугольник: скругленные углы 9">
            <a:extLst>
              <a:ext uri="{FF2B5EF4-FFF2-40B4-BE49-F238E27FC236}">
                <a16:creationId xmlns:a16="http://schemas.microsoft.com/office/drawing/2014/main" id="{A6ABFD22-EE4C-4D6D-A7DB-4392B9291BA3}"/>
              </a:ext>
            </a:extLst>
          </p:cNvPr>
          <p:cNvSpPr/>
          <p:nvPr/>
        </p:nvSpPr>
        <p:spPr>
          <a:xfrm>
            <a:off x="349403" y="3861102"/>
            <a:ext cx="8325259" cy="500505"/>
          </a:xfrm>
          <a:prstGeom prst="roundRect">
            <a:avLst/>
          </a:prstGeom>
          <a:solidFill>
            <a:srgbClr val="8600FF">
              <a:alpha val="5019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049DF380-2DC1-47ED-8264-62A1C45562CD}"/>
              </a:ext>
            </a:extLst>
          </p:cNvPr>
          <p:cNvSpPr txBox="1">
            <a:spLocks/>
          </p:cNvSpPr>
          <p:nvPr/>
        </p:nvSpPr>
        <p:spPr>
          <a:xfrm>
            <a:off x="7547773" y="4701810"/>
            <a:ext cx="2057400" cy="273844"/>
          </a:xfrm>
          <a:prstGeom prst="rect">
            <a:avLst/>
          </a:prstGeom>
        </p:spPr>
        <p:txBody>
          <a:bodyPr/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857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1714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2571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3429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4286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5143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6000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6858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B6F15528-21DE-4FAA-801E-634DDDAF4B2B}" type="slidenum">
              <a:rPr lang="ru-RU" smtClean="0">
                <a:solidFill>
                  <a:schemeClr val="bg1"/>
                </a:solidFill>
                <a:latin typeface="Rostelecom Basis Medium" panose="020B0603030604040103" pitchFamily="34" charset="0"/>
              </a:rPr>
              <a:pPr/>
              <a:t>16</a:t>
            </a:fld>
            <a:endParaRPr lang="ru-RU" dirty="0">
              <a:solidFill>
                <a:schemeClr val="bg1"/>
              </a:solidFill>
              <a:latin typeface="Rostelecom Basis Medium" panose="020B0603030604040103" pitchFamily="34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6CCA72C5-0A19-4CAD-B777-B1ABB88FF3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49404" y="140285"/>
            <a:ext cx="5318449" cy="3594059"/>
          </a:xfrm>
          <a:prstGeom prst="rect">
            <a:avLst/>
          </a:prstGeom>
        </p:spPr>
      </p:pic>
      <p:sp>
        <p:nvSpPr>
          <p:cNvPr id="8" name="object 4">
            <a:extLst>
              <a:ext uri="{FF2B5EF4-FFF2-40B4-BE49-F238E27FC236}">
                <a16:creationId xmlns:a16="http://schemas.microsoft.com/office/drawing/2014/main" id="{5F07B623-2285-460A-91FC-2F60CBFF1ECF}"/>
              </a:ext>
            </a:extLst>
          </p:cNvPr>
          <p:cNvSpPr txBox="1"/>
          <p:nvPr/>
        </p:nvSpPr>
        <p:spPr>
          <a:xfrm>
            <a:off x="469338" y="3908446"/>
            <a:ext cx="8592577" cy="438178"/>
          </a:xfrm>
          <a:prstGeom prst="rect">
            <a:avLst/>
          </a:prstGeom>
        </p:spPr>
        <p:txBody>
          <a:bodyPr vert="horz" wrap="square" lIns="0" tIns="7220" rIns="0" bIns="0" rtlCol="0">
            <a:spAutoFit/>
          </a:bodyPr>
          <a:lstStyle/>
          <a:p>
            <a:pPr marL="5777" algn="l">
              <a:spcBef>
                <a:spcPts val="57"/>
              </a:spcBef>
            </a:pPr>
            <a:r>
              <a:rPr lang="ru-RU" sz="1400" b="0" spc="2" dirty="0">
                <a:solidFill>
                  <a:srgbClr val="FFFFFF"/>
                </a:solidFill>
                <a:latin typeface="Rostelecom Basis" panose="020B0503030604040103" pitchFamily="34" charset="0"/>
                <a:cs typeface="ChevinPro-DemiBold"/>
              </a:rPr>
              <a:t>Допустим, что в вашем пароле используются 36 различных символов (латинские буквы одного регистра + цифры), а скорость перебора составляет 100 000 паролей в секунду.</a:t>
            </a:r>
            <a:endParaRPr sz="1400" b="0" dirty="0">
              <a:solidFill>
                <a:prstClr val="black"/>
              </a:solidFill>
              <a:latin typeface="Rostelecom Basis" panose="020B0503030604040103" pitchFamily="34" charset="0"/>
              <a:cs typeface="ChevinPro-DemiBold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51A1BC7F-AB02-4A35-93E3-CF8E5DCEBF5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634020">
            <a:off x="6986997" y="2710019"/>
            <a:ext cx="583436" cy="744812"/>
          </a:xfrm>
          <a:prstGeom prst="rect">
            <a:avLst/>
          </a:prstGeom>
        </p:spPr>
      </p:pic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1B11FF0-96A2-45AA-8EB4-B42BCA03AD8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301418">
            <a:off x="7722533" y="504916"/>
            <a:ext cx="589085" cy="752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41683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724" y="745"/>
          <a:ext cx="722" cy="7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9" name="think-cell Slide" r:id="rId4" imgW="479" imgH="478" progId="TCLayout.ActiveDocument.1">
                  <p:embed/>
                </p:oleObj>
              </mc:Choice>
              <mc:Fallback>
                <p:oleObj name="think-cell Slide" r:id="rId4" imgW="479" imgH="478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24" y="745"/>
                        <a:ext cx="722" cy="7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297935" y="2192361"/>
            <a:ext cx="4572000" cy="758778"/>
          </a:xfrm>
          <a:prstGeom prst="rect">
            <a:avLst/>
          </a:prstGeom>
        </p:spPr>
        <p:txBody>
          <a:bodyPr vert="horz" wrap="square" lIns="0" tIns="7220" rIns="0" bIns="0" rtlCol="0">
            <a:spAutoFit/>
          </a:bodyPr>
          <a:lstStyle/>
          <a:p>
            <a:pPr marL="5777" algn="l">
              <a:spcBef>
                <a:spcPts val="57"/>
              </a:spcBef>
            </a:pPr>
            <a:r>
              <a:rPr lang="ru-RU" sz="2400" b="0" spc="2" dirty="0">
                <a:solidFill>
                  <a:srgbClr val="8600FF"/>
                </a:solidFill>
                <a:latin typeface="Rostelecom Basis Medium" panose="020B0603030604040103" pitchFamily="34" charset="0"/>
                <a:cs typeface="ChevinPro-DemiBold"/>
              </a:rPr>
              <a:t>Пароли до 8 символов </a:t>
            </a:r>
            <a:endParaRPr lang="en-US" sz="2400" b="0" spc="2" dirty="0">
              <a:solidFill>
                <a:srgbClr val="8600FF"/>
              </a:solidFill>
              <a:latin typeface="Rostelecom Basis Medium" panose="020B0603030604040103" pitchFamily="34" charset="0"/>
              <a:cs typeface="ChevinPro-DemiBold"/>
            </a:endParaRPr>
          </a:p>
          <a:p>
            <a:pPr marL="5777" algn="l"/>
            <a:r>
              <a:rPr lang="ru-RU" sz="2400" b="0" spc="2" dirty="0">
                <a:solidFill>
                  <a:srgbClr val="8600FF"/>
                </a:solidFill>
                <a:latin typeface="Rostelecom Basis Medium" panose="020B0603030604040103" pitchFamily="34" charset="0"/>
                <a:cs typeface="ChevinPro-DemiBold"/>
              </a:rPr>
              <a:t>не являются надежными!!!</a:t>
            </a:r>
            <a:endParaRPr sz="2400" b="0" dirty="0">
              <a:solidFill>
                <a:srgbClr val="8600FF"/>
              </a:solidFill>
              <a:latin typeface="Rostelecom Basis Medium" panose="020B0603030604040103" pitchFamily="34" charset="0"/>
              <a:cs typeface="ChevinPro-DemiBold"/>
            </a:endParaRP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ECD4F3F2-4716-4177-8C6E-43DE65247129}"/>
              </a:ext>
            </a:extLst>
          </p:cNvPr>
          <p:cNvSpPr txBox="1">
            <a:spLocks/>
          </p:cNvSpPr>
          <p:nvPr/>
        </p:nvSpPr>
        <p:spPr>
          <a:xfrm>
            <a:off x="7547773" y="4701810"/>
            <a:ext cx="2057400" cy="273844"/>
          </a:xfrm>
          <a:prstGeom prst="rect">
            <a:avLst/>
          </a:prstGeom>
        </p:spPr>
        <p:txBody>
          <a:bodyPr/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857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1714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2571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3429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4286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5143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6000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6858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B6F15528-21DE-4FAA-801E-634DDDAF4B2B}" type="slidenum">
              <a:rPr lang="ru-RU" smtClean="0">
                <a:solidFill>
                  <a:schemeClr val="bg1"/>
                </a:solidFill>
                <a:latin typeface="Rostelecom Basis Medium" panose="020B0603030604040103" pitchFamily="34" charset="0"/>
              </a:rPr>
              <a:pPr/>
              <a:t>17</a:t>
            </a:fld>
            <a:endParaRPr lang="ru-RU" dirty="0">
              <a:solidFill>
                <a:schemeClr val="bg1"/>
              </a:solidFill>
              <a:latin typeface="Rostelecom Basis Medium" panose="020B0603030604040103" pitchFamily="34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4E4BC1AB-09B9-430C-BC37-69EEC2F5A50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971419" y="1125979"/>
            <a:ext cx="4972050" cy="3276600"/>
          </a:xfrm>
          <a:prstGeom prst="rect">
            <a:avLst/>
          </a:prstGeom>
        </p:spPr>
      </p:pic>
      <p:sp>
        <p:nvSpPr>
          <p:cNvPr id="10" name="Номер слайда 1">
            <a:extLst>
              <a:ext uri="{FF2B5EF4-FFF2-40B4-BE49-F238E27FC236}">
                <a16:creationId xmlns:a16="http://schemas.microsoft.com/office/drawing/2014/main" id="{5DB8DAB8-C8EC-4750-AE14-3E294A85A7E0}"/>
              </a:ext>
            </a:extLst>
          </p:cNvPr>
          <p:cNvSpPr txBox="1">
            <a:spLocks/>
          </p:cNvSpPr>
          <p:nvPr/>
        </p:nvSpPr>
        <p:spPr>
          <a:xfrm>
            <a:off x="7589318" y="4701810"/>
            <a:ext cx="2057400" cy="273844"/>
          </a:xfrm>
          <a:prstGeom prst="rect">
            <a:avLst/>
          </a:prstGeom>
        </p:spPr>
        <p:txBody>
          <a:bodyPr/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857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1714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2571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3429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4286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5143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6000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6858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B6F15528-21DE-4FAA-801E-634DDDAF4B2B}" type="slidenum">
              <a:rPr lang="ru-RU" smtClean="0">
                <a:solidFill>
                  <a:schemeClr val="tx1"/>
                </a:solidFill>
                <a:latin typeface="Rostelecom Basis Medium" panose="020B0603030604040103" pitchFamily="34" charset="0"/>
              </a:rPr>
              <a:pPr/>
              <a:t>17</a:t>
            </a:fld>
            <a:endParaRPr lang="ru-RU" dirty="0">
              <a:solidFill>
                <a:schemeClr val="tx1"/>
              </a:solidFill>
              <a:latin typeface="Rostelecom Basis Medium" panose="020B06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3669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C46F2C-FA71-46A3-8228-81442AA7D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910" y="193308"/>
            <a:ext cx="8230996" cy="646331"/>
          </a:xfrm>
          <a:noFill/>
        </p:spPr>
        <p:txBody>
          <a:bodyPr/>
          <a:lstStyle/>
          <a:p>
            <a:r>
              <a:rPr lang="ru-RU" altLang="ru-RU" sz="2400" dirty="0">
                <a:solidFill>
                  <a:srgbClr val="8600FF"/>
                </a:solidFill>
                <a:latin typeface="Rostelecom Basis" panose="020B0503030604040103" pitchFamily="34" charset="0"/>
                <a:sym typeface="Helvetica Neue"/>
              </a:rPr>
              <a:t>Несколько правил </a:t>
            </a:r>
            <a:r>
              <a:rPr lang="ru-RU" altLang="ru-RU" sz="2400" dirty="0" err="1">
                <a:solidFill>
                  <a:srgbClr val="8600FF"/>
                </a:solidFill>
                <a:latin typeface="Rostelecom Basis" panose="020B0503030604040103" pitchFamily="34" charset="0"/>
                <a:sym typeface="Helvetica Neue"/>
              </a:rPr>
              <a:t>кибергигиены</a:t>
            </a:r>
            <a:r>
              <a:rPr lang="ru-RU" altLang="ru-RU" sz="2400" dirty="0">
                <a:solidFill>
                  <a:srgbClr val="8600FF"/>
                </a:solidFill>
                <a:latin typeface="Rostelecom Basis" panose="020B0503030604040103" pitchFamily="34" charset="0"/>
                <a:sym typeface="Helvetica Neue"/>
              </a:rPr>
              <a:t>:</a:t>
            </a:r>
            <a:endParaRPr lang="ru-RU" sz="2400" dirty="0">
              <a:solidFill>
                <a:srgbClr val="8600FF"/>
              </a:solidFill>
              <a:latin typeface="Rostelecom Basis" panose="020B0503030604040103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3DE59A-28BA-4119-9974-DAD75737ED23}"/>
              </a:ext>
            </a:extLst>
          </p:cNvPr>
          <p:cNvSpPr txBox="1"/>
          <p:nvPr/>
        </p:nvSpPr>
        <p:spPr>
          <a:xfrm>
            <a:off x="349478" y="977749"/>
            <a:ext cx="8230996" cy="30335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43" indent="-285743" algn="l">
              <a:lnSpc>
                <a:spcPts val="21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Пароли по умолчанию нужно менять </a:t>
            </a:r>
          </a:p>
          <a:p>
            <a:pPr marL="285743" indent="-285743" algn="l">
              <a:lnSpc>
                <a:spcPts val="21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Длинный и сложный пароль – это не каприз разработчиков, а реальная необходимость</a:t>
            </a:r>
          </a:p>
          <a:p>
            <a:pPr marL="285743" indent="-285743" algn="l">
              <a:lnSpc>
                <a:spcPts val="21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Чтобы считаться безопасным, длина пароля должна быть не менее 8 символов, а состоять он должен из букв верхнего и нижнего регистров, цифр и специальных символов</a:t>
            </a:r>
          </a:p>
          <a:p>
            <a:pPr marL="285743" indent="-285743" algn="l">
              <a:lnSpc>
                <a:spcPts val="21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Графический пароль на </a:t>
            </a:r>
            <a:r>
              <a:rPr lang="ru-RU" sz="1200" b="0" dirty="0" err="1">
                <a:solidFill>
                  <a:schemeClr val="bg1"/>
                </a:solidFill>
                <a:latin typeface="Rostelecom Basis" panose="020B0503030604040103" pitchFamily="34" charset="0"/>
              </a:rPr>
              <a:t>Android</a:t>
            </a:r>
            <a:r>
              <a:rPr lang="ru-RU" sz="12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 должен включать не менее 8 узлов, не начинаться из угла и иметь пересечения, чтобы считаться надежным</a:t>
            </a:r>
          </a:p>
          <a:p>
            <a:pPr marL="285743" indent="-285743" algn="l">
              <a:lnSpc>
                <a:spcPts val="21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Иметь одинаковые пароли для всего слишком рискованно</a:t>
            </a:r>
          </a:p>
          <a:p>
            <a:pPr marL="285743" indent="-285743" algn="l">
              <a:lnSpc>
                <a:spcPts val="21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Пароли надо регулярно менять: случаются утечки данных, возможно, и ваших тоже</a:t>
            </a:r>
          </a:p>
          <a:p>
            <a:pPr marL="285743" indent="-285743" algn="l">
              <a:lnSpc>
                <a:spcPts val="21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Использовать отпечаток пальца или снимок лица можно, но не в качестве основного пароля</a:t>
            </a:r>
          </a:p>
          <a:p>
            <a:pPr marL="285743" indent="-285743" algn="l">
              <a:lnSpc>
                <a:spcPts val="21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Двухфакторная аутентификация, то есть подтверждение входа в систему или важных действий по СМС или другому каналу, обязательно для всех важных сервисов.</a:t>
            </a:r>
          </a:p>
        </p:txBody>
      </p:sp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049DF380-2DC1-47ED-8264-62A1C45562CD}"/>
              </a:ext>
            </a:extLst>
          </p:cNvPr>
          <p:cNvSpPr txBox="1">
            <a:spLocks/>
          </p:cNvSpPr>
          <p:nvPr/>
        </p:nvSpPr>
        <p:spPr>
          <a:xfrm>
            <a:off x="7547773" y="4701810"/>
            <a:ext cx="2057400" cy="273844"/>
          </a:xfrm>
          <a:prstGeom prst="rect">
            <a:avLst/>
          </a:prstGeom>
        </p:spPr>
        <p:txBody>
          <a:bodyPr/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857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1714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2571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3429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4286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5143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6000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6858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B6F15528-21DE-4FAA-801E-634DDDAF4B2B}" type="slidenum">
              <a:rPr lang="ru-RU" smtClean="0">
                <a:solidFill>
                  <a:schemeClr val="bg1"/>
                </a:solidFill>
                <a:latin typeface="Rostelecom Basis Medium" panose="020B0603030604040103" pitchFamily="34" charset="0"/>
              </a:rPr>
              <a:pPr/>
              <a:t>18</a:t>
            </a:fld>
            <a:endParaRPr lang="ru-RU" dirty="0">
              <a:solidFill>
                <a:schemeClr val="bg1"/>
              </a:solidFill>
              <a:latin typeface="Rostelecom Basis Medium" panose="020B06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221770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B1F52C6E-BB79-47B8-AC87-6168962B730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026116" y="1402848"/>
            <a:ext cx="2936622" cy="242873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C46F2C-FA71-46A3-8228-81442AA7D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478" y="188161"/>
            <a:ext cx="4424541" cy="646331"/>
          </a:xfrm>
          <a:noFill/>
        </p:spPr>
        <p:txBody>
          <a:bodyPr/>
          <a:lstStyle/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  <a:cs typeface="Arial" panose="020B0604020202020204" pitchFamily="34" charset="0"/>
              </a:rPr>
              <a:t>Примеры фишинга</a:t>
            </a:r>
            <a:endParaRPr lang="ru-RU" sz="2400" dirty="0">
              <a:solidFill>
                <a:srgbClr val="8600FF"/>
              </a:solidFill>
              <a:latin typeface="Rostelecom Basis Medium" panose="020B0603030604040103" pitchFamily="34" charset="0"/>
            </a:endParaRPr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ABAD2023-3A59-4837-8A77-14046D88685E}"/>
              </a:ext>
            </a:extLst>
          </p:cNvPr>
          <p:cNvSpPr/>
          <p:nvPr/>
        </p:nvSpPr>
        <p:spPr>
          <a:xfrm>
            <a:off x="5621221" y="934361"/>
            <a:ext cx="3751326" cy="35326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Найдите отличия:</a:t>
            </a:r>
          </a:p>
          <a:p>
            <a:pPr algn="ctr"/>
            <a:endParaRPr lang="ru-RU" sz="2400" b="0" dirty="0">
              <a:solidFill>
                <a:prstClr val="white"/>
              </a:solidFill>
              <a:latin typeface="Rostelecom Basis Medium "/>
            </a:endParaRPr>
          </a:p>
          <a:p>
            <a:pPr algn="ctr"/>
            <a:r>
              <a:rPr lang="en-US" sz="240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amoda.ru</a:t>
            </a:r>
          </a:p>
          <a:p>
            <a:pPr algn="ctr"/>
            <a:r>
              <a:rPr lang="en-US" sz="240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Iamoda.ru</a:t>
            </a:r>
          </a:p>
          <a:p>
            <a:pPr algn="ctr"/>
            <a:r>
              <a:rPr lang="ru-RU" sz="2400" dirty="0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а</a:t>
            </a:r>
            <a:r>
              <a:rPr lang="en-US" sz="2400" dirty="0" err="1">
                <a:solidFill>
                  <a:prstClr val="white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oda.ru</a:t>
            </a:r>
            <a:endParaRPr lang="ru-RU" sz="2400" dirty="0">
              <a:solidFill>
                <a:prstClr val="white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1700EEA-C626-4A90-A779-935CE90B407D}"/>
              </a:ext>
            </a:extLst>
          </p:cNvPr>
          <p:cNvSpPr txBox="1"/>
          <p:nvPr/>
        </p:nvSpPr>
        <p:spPr>
          <a:xfrm>
            <a:off x="747596" y="1402848"/>
            <a:ext cx="7868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1</a:t>
            </a:r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B53279C0-D410-490B-93A9-7BAB4841FB28}"/>
              </a:ext>
            </a:extLst>
          </p:cNvPr>
          <p:cNvSpPr/>
          <p:nvPr/>
        </p:nvSpPr>
        <p:spPr>
          <a:xfrm>
            <a:off x="907082" y="1342404"/>
            <a:ext cx="478466" cy="478466"/>
          </a:xfrm>
          <a:prstGeom prst="ellipse">
            <a:avLst/>
          </a:prstGeom>
          <a:noFill/>
          <a:ln w="38100">
            <a:solidFill>
              <a:srgbClr val="86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81F2DEF-6830-4248-91BA-15A7A311153B}"/>
              </a:ext>
            </a:extLst>
          </p:cNvPr>
          <p:cNvSpPr txBox="1"/>
          <p:nvPr/>
        </p:nvSpPr>
        <p:spPr>
          <a:xfrm>
            <a:off x="737122" y="2440962"/>
            <a:ext cx="7868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2</a:t>
            </a: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74026641-9533-4F89-AE74-5ABDEAF2E7D8}"/>
              </a:ext>
            </a:extLst>
          </p:cNvPr>
          <p:cNvSpPr/>
          <p:nvPr/>
        </p:nvSpPr>
        <p:spPr>
          <a:xfrm>
            <a:off x="899996" y="2380518"/>
            <a:ext cx="478466" cy="478466"/>
          </a:xfrm>
          <a:prstGeom prst="ellipse">
            <a:avLst/>
          </a:prstGeom>
          <a:noFill/>
          <a:ln w="38100">
            <a:solidFill>
              <a:srgbClr val="86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CB857CE-BA96-4FDC-9175-B1A854ECDC2B}"/>
              </a:ext>
            </a:extLst>
          </p:cNvPr>
          <p:cNvSpPr txBox="1"/>
          <p:nvPr/>
        </p:nvSpPr>
        <p:spPr>
          <a:xfrm>
            <a:off x="729645" y="3431472"/>
            <a:ext cx="78681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3</a:t>
            </a:r>
          </a:p>
        </p:txBody>
      </p:sp>
      <p:sp>
        <p:nvSpPr>
          <p:cNvPr id="11" name="Овал 10">
            <a:extLst>
              <a:ext uri="{FF2B5EF4-FFF2-40B4-BE49-F238E27FC236}">
                <a16:creationId xmlns:a16="http://schemas.microsoft.com/office/drawing/2014/main" id="{0C74A141-8ED3-43CE-9B99-AD1432637B71}"/>
              </a:ext>
            </a:extLst>
          </p:cNvPr>
          <p:cNvSpPr/>
          <p:nvPr/>
        </p:nvSpPr>
        <p:spPr>
          <a:xfrm>
            <a:off x="880551" y="3371028"/>
            <a:ext cx="478466" cy="478466"/>
          </a:xfrm>
          <a:prstGeom prst="ellipse">
            <a:avLst/>
          </a:prstGeom>
          <a:noFill/>
          <a:ln w="38100">
            <a:solidFill>
              <a:srgbClr val="8600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1AEFBE9-2F07-4A07-92E2-104B5E45996A}"/>
              </a:ext>
            </a:extLst>
          </p:cNvPr>
          <p:cNvSpPr txBox="1"/>
          <p:nvPr/>
        </p:nvSpPr>
        <p:spPr>
          <a:xfrm>
            <a:off x="1523932" y="1357714"/>
            <a:ext cx="4350886" cy="6963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400" b="0" dirty="0">
                <a:solidFill>
                  <a:prstClr val="white"/>
                </a:solidFill>
                <a:latin typeface="Rostelecom Basis" panose="020B0503030604040103" pitchFamily="34" charset="0"/>
              </a:rPr>
              <a:t>Пользователю приходит письмо с</a:t>
            </a:r>
            <a:r>
              <a:rPr lang="en-US" sz="1400" b="0" dirty="0">
                <a:solidFill>
                  <a:prstClr val="white"/>
                </a:solidFill>
                <a:latin typeface="Rostelecom Basis" panose="020B0503030604040103" pitchFamily="34" charset="0"/>
              </a:rPr>
              <a:t> </a:t>
            </a:r>
            <a:r>
              <a:rPr lang="ru-RU" sz="1400" b="0" dirty="0">
                <a:solidFill>
                  <a:prstClr val="white"/>
                </a:solidFill>
                <a:latin typeface="Rostelecom Basis" panose="020B0503030604040103" pitchFamily="34" charset="0"/>
              </a:rPr>
              <a:t>информацией об акции на таком-то ресурсе</a:t>
            </a:r>
          </a:p>
          <a:p>
            <a:pPr algn="l"/>
            <a:endParaRPr lang="ru-RU" b="0" dirty="0">
              <a:latin typeface="Rostelecom Basis" panose="020B0503030604040103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0A7553F-CEA1-415A-BA93-BD20241E20F2}"/>
              </a:ext>
            </a:extLst>
          </p:cNvPr>
          <p:cNvSpPr txBox="1"/>
          <p:nvPr/>
        </p:nvSpPr>
        <p:spPr>
          <a:xfrm>
            <a:off x="1499057" y="2353383"/>
            <a:ext cx="4497141" cy="811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400" b="0" dirty="0">
                <a:solidFill>
                  <a:prstClr val="white"/>
                </a:solidFill>
                <a:latin typeface="Rostelecom Basis" panose="020B0503030604040103" pitchFamily="34" charset="0"/>
              </a:rPr>
              <a:t>Он кликает по абсолютной ссылке и переходит </a:t>
            </a:r>
          </a:p>
          <a:p>
            <a:pPr algn="l">
              <a:spcAft>
                <a:spcPts val="900"/>
              </a:spcAft>
            </a:pPr>
            <a:r>
              <a:rPr lang="ru-RU" sz="1400" b="0" dirty="0">
                <a:solidFill>
                  <a:prstClr val="white"/>
                </a:solidFill>
                <a:latin typeface="Rostelecom Basis" panose="020B0503030604040103" pitchFamily="34" charset="0"/>
              </a:rPr>
              <a:t>на поддельный сайт (идентичный оригинальному)</a:t>
            </a:r>
          </a:p>
          <a:p>
            <a:pPr algn="l"/>
            <a:endParaRPr lang="ru-RU" b="0" dirty="0">
              <a:latin typeface="Rostelecom Basis" panose="020B05030306040401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9A0AEBD-5D7C-4E71-BFF1-EEF6962A6AA0}"/>
              </a:ext>
            </a:extLst>
          </p:cNvPr>
          <p:cNvSpPr txBox="1"/>
          <p:nvPr/>
        </p:nvSpPr>
        <p:spPr>
          <a:xfrm>
            <a:off x="1499057" y="3384158"/>
            <a:ext cx="361920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>
              <a:spcAft>
                <a:spcPts val="900"/>
              </a:spcAft>
            </a:pPr>
            <a:r>
              <a:rPr lang="ru-RU" sz="1400" b="0" dirty="0">
                <a:solidFill>
                  <a:prstClr val="white"/>
                </a:solidFill>
                <a:latin typeface="Rostelecom Basis" panose="020B0503030604040103" pitchFamily="34" charset="0"/>
              </a:rPr>
              <a:t>Совершает покупки, производит оплату на поддельном (фишинговом) сайте</a:t>
            </a:r>
          </a:p>
        </p:txBody>
      </p:sp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CE98010F-47E7-4321-8B21-39A3E2211AD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274412" y="1561123"/>
            <a:ext cx="504987" cy="1021904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5135B5FA-E592-42CC-863E-CC71E746B0AA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274411" y="2700710"/>
            <a:ext cx="504988" cy="1021905"/>
          </a:xfrm>
          <a:prstGeom prst="rect">
            <a:avLst/>
          </a:prstGeom>
        </p:spPr>
      </p:pic>
      <p:sp>
        <p:nvSpPr>
          <p:cNvPr id="21" name="Номер слайда 1">
            <a:extLst>
              <a:ext uri="{FF2B5EF4-FFF2-40B4-BE49-F238E27FC236}">
                <a16:creationId xmlns:a16="http://schemas.microsoft.com/office/drawing/2014/main" id="{31F772C2-36D0-4122-8BE5-60BB48499869}"/>
              </a:ext>
            </a:extLst>
          </p:cNvPr>
          <p:cNvSpPr txBox="1">
            <a:spLocks/>
          </p:cNvSpPr>
          <p:nvPr/>
        </p:nvSpPr>
        <p:spPr>
          <a:xfrm>
            <a:off x="7547773" y="4701810"/>
            <a:ext cx="2057400" cy="273844"/>
          </a:xfrm>
          <a:prstGeom prst="rect">
            <a:avLst/>
          </a:prstGeom>
        </p:spPr>
        <p:txBody>
          <a:bodyPr/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857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1714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2571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3429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4286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5143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6000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6858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B6F15528-21DE-4FAA-801E-634DDDAF4B2B}" type="slidenum">
              <a:rPr lang="ru-RU" smtClean="0">
                <a:solidFill>
                  <a:schemeClr val="bg1"/>
                </a:solidFill>
                <a:latin typeface="Rostelecom Basis Medium" panose="020B0603030604040103" pitchFamily="34" charset="0"/>
              </a:rPr>
              <a:pPr/>
              <a:t>19</a:t>
            </a:fld>
            <a:endParaRPr lang="ru-RU" dirty="0">
              <a:solidFill>
                <a:schemeClr val="bg1"/>
              </a:solidFill>
              <a:latin typeface="Rostelecom Basis Medium" panose="020B06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505701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C46F2C-FA71-46A3-8228-81442AA7D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732" y="178851"/>
            <a:ext cx="4996878" cy="646331"/>
          </a:xfrm>
          <a:noFill/>
        </p:spPr>
        <p:txBody>
          <a:bodyPr/>
          <a:lstStyle/>
          <a:p>
            <a:r>
              <a:rPr lang="ru-RU" sz="2400" dirty="0">
                <a:solidFill>
                  <a:srgbClr val="8600FF"/>
                </a:solidFill>
              </a:rPr>
              <a:t>Масштабы перемен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A568AC-35C6-4509-99D2-D7ACDF9F487C}"/>
              </a:ext>
            </a:extLst>
          </p:cNvPr>
          <p:cNvSpPr txBox="1"/>
          <p:nvPr/>
        </p:nvSpPr>
        <p:spPr>
          <a:xfrm>
            <a:off x="360732" y="2344442"/>
            <a:ext cx="50933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8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Что должен подумать человек, услышав фразу </a:t>
            </a:r>
            <a:r>
              <a:rPr lang="ru-RU" sz="1800" b="0" dirty="0">
                <a:solidFill>
                  <a:srgbClr val="8600FF"/>
                </a:solidFill>
                <a:latin typeface="Rostelecom Basis" panose="020B0503030604040103" pitchFamily="34" charset="0"/>
              </a:rPr>
              <a:t>«10 тысяч копий»</a:t>
            </a:r>
            <a:r>
              <a:rPr lang="en-US" sz="1800" b="0" dirty="0">
                <a:solidFill>
                  <a:srgbClr val="8600FF"/>
                </a:solidFill>
                <a:latin typeface="Rostelecom Basis" panose="020B0503030604040103" pitchFamily="34" charset="0"/>
              </a:rPr>
              <a:t>? </a:t>
            </a:r>
            <a:r>
              <a:rPr lang="ru-RU" sz="1800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Или </a:t>
            </a:r>
            <a:r>
              <a:rPr lang="ru-RU" sz="1800" b="0" dirty="0">
                <a:solidFill>
                  <a:srgbClr val="8600FF"/>
                </a:solidFill>
                <a:latin typeface="Rostelecom Basis" panose="020B0503030604040103" pitchFamily="34" charset="0"/>
                <a:cs typeface="Times New Roman" panose="02020603050405020304" pitchFamily="18" charset="0"/>
              </a:rPr>
              <a:t>«Пьер Безухов распечатал письмо…»</a:t>
            </a:r>
            <a:br>
              <a:rPr lang="ru-RU" sz="1800" b="0" dirty="0">
                <a:solidFill>
                  <a:schemeClr val="bg1"/>
                </a:solidFill>
                <a:latin typeface="Rostelecom Basis" panose="020B0503030604040103" pitchFamily="34" charset="0"/>
                <a:cs typeface="Times New Roman" panose="02020603050405020304" pitchFamily="18" charset="0"/>
              </a:rPr>
            </a:br>
            <a:endParaRPr lang="ru-RU" sz="1800" b="0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6FD5B54D-6EAC-4508-8E2E-5DB4B60870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7201" y="1387217"/>
            <a:ext cx="2762332" cy="29278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37220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C46F2C-FA71-46A3-8228-81442AA7D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7765" y="249656"/>
            <a:ext cx="5191787" cy="509296"/>
          </a:xfrm>
          <a:noFill/>
        </p:spPr>
        <p:txBody>
          <a:bodyPr/>
          <a:lstStyle/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т приходит «жирный тролль» …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EE4B0DD-1139-4CCB-A729-9CFE7460A1E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04391" y="1068877"/>
            <a:ext cx="2646204" cy="3297170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1B105E4-7930-4419-81D2-4C8E68818860}"/>
              </a:ext>
            </a:extLst>
          </p:cNvPr>
          <p:cNvSpPr/>
          <p:nvPr/>
        </p:nvSpPr>
        <p:spPr>
          <a:xfrm>
            <a:off x="349477" y="1747966"/>
            <a:ext cx="3389043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ru-RU" sz="2000" b="0" dirty="0">
                <a:solidFill>
                  <a:schemeClr val="bg1"/>
                </a:solidFill>
                <a:latin typeface="Rostelecom Basis Medium" panose="020B0603030604040103" pitchFamily="34" charset="0"/>
              </a:rPr>
              <a:t>Как не «кормить» тролля и как решить за 10 секунд, кто тебе в сети друг?</a:t>
            </a:r>
            <a:br>
              <a:rPr lang="ru-RU" sz="2000" b="0" dirty="0">
                <a:solidFill>
                  <a:schemeClr val="bg1"/>
                </a:solidFill>
                <a:latin typeface="Rostelecom Basis Medium" panose="020B0603030604040103" pitchFamily="34" charset="0"/>
              </a:rPr>
            </a:br>
            <a:endParaRPr lang="ru-RU" sz="2000" b="0" dirty="0">
              <a:solidFill>
                <a:schemeClr val="bg1"/>
              </a:solidFill>
              <a:latin typeface="Rostelecom Basis Medium" panose="020B0603030604040103" pitchFamily="34" charset="0"/>
            </a:endParaRPr>
          </a:p>
        </p:txBody>
      </p:sp>
      <p:sp>
        <p:nvSpPr>
          <p:cNvPr id="7" name="Номер слайда 1">
            <a:extLst>
              <a:ext uri="{FF2B5EF4-FFF2-40B4-BE49-F238E27FC236}">
                <a16:creationId xmlns:a16="http://schemas.microsoft.com/office/drawing/2014/main" id="{8BEF1F19-CD7D-434A-BE2A-50F0E19EE3E8}"/>
              </a:ext>
            </a:extLst>
          </p:cNvPr>
          <p:cNvSpPr txBox="1">
            <a:spLocks/>
          </p:cNvSpPr>
          <p:nvPr/>
        </p:nvSpPr>
        <p:spPr>
          <a:xfrm>
            <a:off x="7547773" y="4701810"/>
            <a:ext cx="2057400" cy="273844"/>
          </a:xfrm>
          <a:prstGeom prst="rect">
            <a:avLst/>
          </a:prstGeom>
        </p:spPr>
        <p:txBody>
          <a:bodyPr/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857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1714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2571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3429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4286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5143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6000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6858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B6F15528-21DE-4FAA-801E-634DDDAF4B2B}" type="slidenum">
              <a:rPr lang="ru-RU" smtClean="0">
                <a:solidFill>
                  <a:schemeClr val="bg1"/>
                </a:solidFill>
                <a:latin typeface="Rostelecom Basis Medium" panose="020B0603030604040103" pitchFamily="34" charset="0"/>
              </a:rPr>
              <a:pPr/>
              <a:t>20</a:t>
            </a:fld>
            <a:endParaRPr lang="ru-RU" dirty="0">
              <a:solidFill>
                <a:schemeClr val="bg1"/>
              </a:solidFill>
              <a:latin typeface="Rostelecom Basis Medium" panose="020B06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349331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D26BCCB-3AE3-4A56-ADCA-1B94F88BEFAC}"/>
              </a:ext>
            </a:extLst>
          </p:cNvPr>
          <p:cNvSpPr/>
          <p:nvPr/>
        </p:nvSpPr>
        <p:spPr>
          <a:xfrm>
            <a:off x="8397581" y="4508205"/>
            <a:ext cx="466698" cy="51636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DAF6193-8194-4EB8-8DE0-42E289D769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95397" y="306409"/>
            <a:ext cx="4407227" cy="434651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400C3B69-37BD-4EBC-AB0E-BC4CC0901FB5}"/>
              </a:ext>
            </a:extLst>
          </p:cNvPr>
          <p:cNvSpPr txBox="1">
            <a:spLocks/>
          </p:cNvSpPr>
          <p:nvPr/>
        </p:nvSpPr>
        <p:spPr>
          <a:xfrm>
            <a:off x="255320" y="430984"/>
            <a:ext cx="4150944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lvl="0"/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 </a:t>
            </a:r>
            <a:r>
              <a:rPr lang="ru-RU" sz="2000" dirty="0"/>
              <a:t>Ваши друзья жалуются, что от вас приходит спам. Как вы поступите?</a:t>
            </a:r>
            <a:endParaRPr lang="ru-RU" sz="2400" dirty="0"/>
          </a:p>
        </p:txBody>
      </p:sp>
      <p:sp>
        <p:nvSpPr>
          <p:cNvPr id="14" name="Текст 1">
            <a:extLst>
              <a:ext uri="{FF2B5EF4-FFF2-40B4-BE49-F238E27FC236}">
                <a16:creationId xmlns:a16="http://schemas.microsoft.com/office/drawing/2014/main" id="{774C9A9E-C80B-4DD2-AB7C-E9E1AD9AB179}"/>
              </a:ext>
            </a:extLst>
          </p:cNvPr>
          <p:cNvSpPr txBox="1">
            <a:spLocks/>
          </p:cNvSpPr>
          <p:nvPr/>
        </p:nvSpPr>
        <p:spPr>
          <a:xfrm>
            <a:off x="4780511" y="457366"/>
            <a:ext cx="3909288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 lang="ru-RU" sz="2400" dirty="0">
              <a:solidFill>
                <a:srgbClr val="8600FF"/>
              </a:solidFill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9FE4814-6A23-4366-AC5D-DD2B990D4F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03304" y="1884403"/>
            <a:ext cx="1690022" cy="314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13220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5D26BCCB-3AE3-4A56-ADCA-1B94F88BEFAC}"/>
              </a:ext>
            </a:extLst>
          </p:cNvPr>
          <p:cNvSpPr/>
          <p:nvPr/>
        </p:nvSpPr>
        <p:spPr>
          <a:xfrm>
            <a:off x="8397581" y="4508205"/>
            <a:ext cx="466698" cy="516368"/>
          </a:xfrm>
          <a:prstGeom prst="rect">
            <a:avLst/>
          </a:prstGeom>
          <a:solidFill>
            <a:schemeClr val="bg1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0" tIns="0" rIns="0" bIns="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Neue Medium"/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DAF6193-8194-4EB8-8DE0-42E289D769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95397" y="306409"/>
            <a:ext cx="4407227" cy="4346511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400C3B69-37BD-4EBC-AB0E-BC4CC0901FB5}"/>
              </a:ext>
            </a:extLst>
          </p:cNvPr>
          <p:cNvSpPr txBox="1">
            <a:spLocks/>
          </p:cNvSpPr>
          <p:nvPr/>
        </p:nvSpPr>
        <p:spPr>
          <a:xfrm>
            <a:off x="255320" y="430984"/>
            <a:ext cx="4150944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pPr lvl="0"/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 </a:t>
            </a:r>
            <a:r>
              <a:rPr lang="ru-RU" sz="2000" dirty="0"/>
              <a:t>Ваши друзья жалуются, что от вас приходит спам. Как вы поступите?</a:t>
            </a:r>
            <a:endParaRPr lang="ru-RU" sz="2400" dirty="0"/>
          </a:p>
        </p:txBody>
      </p:sp>
      <p:sp>
        <p:nvSpPr>
          <p:cNvPr id="14" name="Текст 1">
            <a:extLst>
              <a:ext uri="{FF2B5EF4-FFF2-40B4-BE49-F238E27FC236}">
                <a16:creationId xmlns:a16="http://schemas.microsoft.com/office/drawing/2014/main" id="{774C9A9E-C80B-4DD2-AB7C-E9E1AD9AB179}"/>
              </a:ext>
            </a:extLst>
          </p:cNvPr>
          <p:cNvSpPr txBox="1">
            <a:spLocks/>
          </p:cNvSpPr>
          <p:nvPr/>
        </p:nvSpPr>
        <p:spPr>
          <a:xfrm>
            <a:off x="4780511" y="457366"/>
            <a:ext cx="3909288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Ответ: 1.</a:t>
            </a:r>
            <a:r>
              <a:rPr lang="ru-RU" sz="2400" dirty="0">
                <a:solidFill>
                  <a:srgbClr val="8600FF"/>
                </a:solidFill>
              </a:rPr>
              <a:t>	</a:t>
            </a:r>
            <a:r>
              <a:rPr lang="ru-RU" sz="2000" dirty="0">
                <a:solidFill>
                  <a:srgbClr val="8600FF"/>
                </a:solidFill>
              </a:rPr>
              <a:t>Попрошу друзей </a:t>
            </a:r>
          </a:p>
          <a:p>
            <a:pPr>
              <a:spcBef>
                <a:spcPts val="0"/>
              </a:spcBef>
            </a:pPr>
            <a:r>
              <a:rPr lang="ru-RU" sz="2000" dirty="0">
                <a:solidFill>
                  <a:srgbClr val="8600FF"/>
                </a:solidFill>
              </a:rPr>
              <a:t>не переходить по ссылкам, которые приходят от меня, </a:t>
            </a:r>
          </a:p>
          <a:p>
            <a:pPr>
              <a:spcBef>
                <a:spcPts val="0"/>
              </a:spcBef>
            </a:pPr>
            <a:r>
              <a:rPr lang="ru-RU" sz="2000" dirty="0">
                <a:solidFill>
                  <a:srgbClr val="8600FF"/>
                </a:solidFill>
              </a:rPr>
              <a:t>и напишу в техподдержку.</a:t>
            </a:r>
          </a:p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2</a:t>
            </a:r>
            <a:r>
              <a:rPr lang="ru-RU" sz="2400" dirty="0">
                <a:solidFill>
                  <a:srgbClr val="8600FF"/>
                </a:solidFill>
              </a:rPr>
              <a:t>.	</a:t>
            </a:r>
            <a:r>
              <a:rPr lang="ru-RU" sz="2000" dirty="0">
                <a:solidFill>
                  <a:srgbClr val="8600FF"/>
                </a:solidFill>
              </a:rPr>
              <a:t>Сменю пароль от учетной записи во </a:t>
            </a:r>
            <a:r>
              <a:rPr lang="ru-RU" sz="2000" dirty="0" err="1">
                <a:solidFill>
                  <a:srgbClr val="8600FF"/>
                </a:solidFill>
              </a:rPr>
              <a:t>ВКонтакте</a:t>
            </a:r>
            <a:r>
              <a:rPr lang="ru-RU" sz="2000" dirty="0">
                <a:solidFill>
                  <a:srgbClr val="8600FF"/>
                </a:solidFill>
              </a:rPr>
              <a:t>, от почты, к которой привязан этот аккаунт, и пройдусь по устройству антивирусом. </a:t>
            </a:r>
          </a:p>
          <a:p>
            <a:endParaRPr lang="ru-RU" sz="2400" dirty="0">
              <a:solidFill>
                <a:srgbClr val="8600FF"/>
              </a:solidFill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99FE4814-6A23-4366-AC5D-DD2B990D4F1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803304" y="1884403"/>
            <a:ext cx="1690022" cy="3140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07789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8AB22842-F846-4DE1-B936-F840D06F5130}"/>
              </a:ext>
            </a:extLst>
          </p:cNvPr>
          <p:cNvSpPr txBox="1">
            <a:spLocks/>
          </p:cNvSpPr>
          <p:nvPr/>
        </p:nvSpPr>
        <p:spPr>
          <a:xfrm>
            <a:off x="438074" y="1017897"/>
            <a:ext cx="5189053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 </a:t>
            </a:r>
            <a:r>
              <a:rPr lang="ru-RU" sz="2000" dirty="0"/>
              <a:t>Кому можно сообщать свой платежный пароль или код подтверждения по телефону? </a:t>
            </a:r>
          </a:p>
          <a:p>
            <a:endParaRPr lang="ru-RU" sz="2400" dirty="0"/>
          </a:p>
        </p:txBody>
      </p:sp>
      <p:sp>
        <p:nvSpPr>
          <p:cNvPr id="14" name="Текст 1">
            <a:extLst>
              <a:ext uri="{FF2B5EF4-FFF2-40B4-BE49-F238E27FC236}">
                <a16:creationId xmlns:a16="http://schemas.microsoft.com/office/drawing/2014/main" id="{8BB62A27-864F-42EF-ACEA-E61876D1AD34}"/>
              </a:ext>
            </a:extLst>
          </p:cNvPr>
          <p:cNvSpPr txBox="1">
            <a:spLocks/>
          </p:cNvSpPr>
          <p:nvPr/>
        </p:nvSpPr>
        <p:spPr>
          <a:xfrm>
            <a:off x="5627128" y="1347946"/>
            <a:ext cx="3253575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000" dirty="0">
                <a:solidFill>
                  <a:srgbClr val="8600FF"/>
                </a:solidFill>
              </a:rPr>
              <a:t>.</a:t>
            </a:r>
          </a:p>
          <a:p>
            <a:endParaRPr lang="ru-RU" sz="2400" dirty="0">
              <a:solidFill>
                <a:srgbClr val="8600FF"/>
              </a:solidFill>
              <a:latin typeface="Rostelecom Basis Medium" panose="020B0603030604040103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C449841C-90B6-436A-9271-37C10D5A1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903701" y="2408533"/>
            <a:ext cx="1476790" cy="2431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401659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104E1A07-D3F1-4222-BBE8-4AF526B5A59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62327" y="1177686"/>
            <a:ext cx="2343385" cy="106058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8AB22842-F846-4DE1-B936-F840D06F5130}"/>
              </a:ext>
            </a:extLst>
          </p:cNvPr>
          <p:cNvSpPr txBox="1">
            <a:spLocks/>
          </p:cNvSpPr>
          <p:nvPr/>
        </p:nvSpPr>
        <p:spPr>
          <a:xfrm>
            <a:off x="438074" y="1017897"/>
            <a:ext cx="5189053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 </a:t>
            </a:r>
            <a:r>
              <a:rPr lang="ru-RU" sz="2000" dirty="0"/>
              <a:t>Кому можно сообщать свой платежный пароль или код подтверждения по телефону? </a:t>
            </a:r>
          </a:p>
          <a:p>
            <a:endParaRPr lang="ru-RU" sz="2400" dirty="0"/>
          </a:p>
        </p:txBody>
      </p:sp>
      <p:sp>
        <p:nvSpPr>
          <p:cNvPr id="14" name="Текст 1">
            <a:extLst>
              <a:ext uri="{FF2B5EF4-FFF2-40B4-BE49-F238E27FC236}">
                <a16:creationId xmlns:a16="http://schemas.microsoft.com/office/drawing/2014/main" id="{8BB62A27-864F-42EF-ACEA-E61876D1AD34}"/>
              </a:ext>
            </a:extLst>
          </p:cNvPr>
          <p:cNvSpPr txBox="1">
            <a:spLocks/>
          </p:cNvSpPr>
          <p:nvPr/>
        </p:nvSpPr>
        <p:spPr>
          <a:xfrm>
            <a:off x="5627128" y="1347946"/>
            <a:ext cx="3253575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Ответ: </a:t>
            </a:r>
            <a:r>
              <a:rPr lang="ru-RU" sz="2000" dirty="0">
                <a:solidFill>
                  <a:srgbClr val="8600FF"/>
                </a:solidFill>
              </a:rPr>
              <a:t>Никому.</a:t>
            </a:r>
          </a:p>
          <a:p>
            <a:endParaRPr lang="ru-RU" sz="2400" dirty="0">
              <a:solidFill>
                <a:srgbClr val="8600FF"/>
              </a:solidFill>
              <a:latin typeface="Rostelecom Basis Medium" panose="020B0603030604040103" pitchFamily="34" charset="0"/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C449841C-90B6-436A-9271-37C10D5A1D8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903701" y="2408533"/>
            <a:ext cx="1476790" cy="2431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57990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607957B-D93B-410B-B907-DBD28E9093C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22605" y="991792"/>
            <a:ext cx="3179229" cy="1579958"/>
          </a:xfrm>
          <a:prstGeom prst="rect">
            <a:avLst/>
          </a:prstGeom>
        </p:spPr>
      </p:pic>
      <p:sp>
        <p:nvSpPr>
          <p:cNvPr id="13" name="Текст 1">
            <a:extLst>
              <a:ext uri="{FF2B5EF4-FFF2-40B4-BE49-F238E27FC236}">
                <a16:creationId xmlns:a16="http://schemas.microsoft.com/office/drawing/2014/main" id="{A00DF0BC-A40C-4770-ABAC-E84FFF7D3A08}"/>
              </a:ext>
            </a:extLst>
          </p:cNvPr>
          <p:cNvSpPr txBox="1">
            <a:spLocks/>
          </p:cNvSpPr>
          <p:nvPr/>
        </p:nvSpPr>
        <p:spPr>
          <a:xfrm>
            <a:off x="438074" y="1027415"/>
            <a:ext cx="4783307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 </a:t>
            </a:r>
            <a:r>
              <a:rPr lang="ru-RU" sz="2000" dirty="0"/>
              <a:t>В каком случае стоит доверять информации, что ваш друг остался без денег на другом конце города и ему срочно нужны средства, чтобы добраться до дома?</a:t>
            </a:r>
          </a:p>
        </p:txBody>
      </p:sp>
      <p:sp>
        <p:nvSpPr>
          <p:cNvPr id="14" name="Текст 1">
            <a:extLst>
              <a:ext uri="{FF2B5EF4-FFF2-40B4-BE49-F238E27FC236}">
                <a16:creationId xmlns:a16="http://schemas.microsoft.com/office/drawing/2014/main" id="{FC1CE96A-9DC9-449B-A4FA-16817C209210}"/>
              </a:ext>
            </a:extLst>
          </p:cNvPr>
          <p:cNvSpPr txBox="1">
            <a:spLocks/>
          </p:cNvSpPr>
          <p:nvPr/>
        </p:nvSpPr>
        <p:spPr>
          <a:xfrm>
            <a:off x="5648231" y="1029923"/>
            <a:ext cx="3057695" cy="1755807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 lang="ru-RU" sz="2400" dirty="0">
              <a:solidFill>
                <a:srgbClr val="8600FF"/>
              </a:solidFill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A7F5F129-528E-44C5-8077-7E9DC367FC2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355304" y="2783641"/>
            <a:ext cx="1078355" cy="2081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40800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607957B-D93B-410B-B907-DBD28E9093C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422605" y="991792"/>
            <a:ext cx="3179229" cy="1579958"/>
          </a:xfrm>
          <a:prstGeom prst="rect">
            <a:avLst/>
          </a:prstGeom>
        </p:spPr>
      </p:pic>
      <p:sp>
        <p:nvSpPr>
          <p:cNvPr id="13" name="Текст 1">
            <a:extLst>
              <a:ext uri="{FF2B5EF4-FFF2-40B4-BE49-F238E27FC236}">
                <a16:creationId xmlns:a16="http://schemas.microsoft.com/office/drawing/2014/main" id="{A00DF0BC-A40C-4770-ABAC-E84FFF7D3A08}"/>
              </a:ext>
            </a:extLst>
          </p:cNvPr>
          <p:cNvSpPr txBox="1">
            <a:spLocks/>
          </p:cNvSpPr>
          <p:nvPr/>
        </p:nvSpPr>
        <p:spPr>
          <a:xfrm>
            <a:off x="438074" y="1027415"/>
            <a:ext cx="4783307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 </a:t>
            </a:r>
            <a:r>
              <a:rPr lang="ru-RU" sz="2000" dirty="0"/>
              <a:t>В каком случае стоит доверять информации, что ваш друг остался без денег на другом конце города и ему срочно нужны средства, чтобы добраться до дома?</a:t>
            </a:r>
          </a:p>
        </p:txBody>
      </p:sp>
      <p:sp>
        <p:nvSpPr>
          <p:cNvPr id="14" name="Текст 1">
            <a:extLst>
              <a:ext uri="{FF2B5EF4-FFF2-40B4-BE49-F238E27FC236}">
                <a16:creationId xmlns:a16="http://schemas.microsoft.com/office/drawing/2014/main" id="{FC1CE96A-9DC9-449B-A4FA-16817C209210}"/>
              </a:ext>
            </a:extLst>
          </p:cNvPr>
          <p:cNvSpPr txBox="1">
            <a:spLocks/>
          </p:cNvSpPr>
          <p:nvPr/>
        </p:nvSpPr>
        <p:spPr>
          <a:xfrm>
            <a:off x="5648231" y="1029923"/>
            <a:ext cx="3057695" cy="1755807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Ответ: </a:t>
            </a:r>
            <a:r>
              <a:rPr lang="ru-RU" sz="2000" dirty="0">
                <a:solidFill>
                  <a:srgbClr val="8600FF"/>
                </a:solidFill>
              </a:rPr>
              <a:t>Если он сам позвонил и рассказал об этом. </a:t>
            </a:r>
            <a:endParaRPr lang="ru-RU" sz="2400" dirty="0">
              <a:solidFill>
                <a:srgbClr val="8600FF"/>
              </a:solidFill>
            </a:endParaRPr>
          </a:p>
        </p:txBody>
      </p:sp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A7F5F129-528E-44C5-8077-7E9DC367FC2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7355304" y="2783641"/>
            <a:ext cx="1078355" cy="2081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560105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A12BB57-AA17-459A-8B17-6F8EC308545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692630" y="991792"/>
            <a:ext cx="4213605" cy="208967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EF88D24E-98BF-400D-8456-B2DB7D50A3DC}"/>
              </a:ext>
            </a:extLst>
          </p:cNvPr>
          <p:cNvSpPr txBox="1">
            <a:spLocks/>
          </p:cNvSpPr>
          <p:nvPr/>
        </p:nvSpPr>
        <p:spPr>
          <a:xfrm>
            <a:off x="341376" y="1017897"/>
            <a:ext cx="4109996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 "/>
              </a:rPr>
              <a:t>Вопрос: </a:t>
            </a:r>
            <a:r>
              <a:rPr lang="ru-RU" sz="2000" dirty="0"/>
              <a:t>Как поступить, если вы получили сообщение в соцсети от друга, который просит денег взаймы?</a:t>
            </a:r>
          </a:p>
        </p:txBody>
      </p:sp>
      <p:sp>
        <p:nvSpPr>
          <p:cNvPr id="15" name="Текст 1">
            <a:extLst>
              <a:ext uri="{FF2B5EF4-FFF2-40B4-BE49-F238E27FC236}">
                <a16:creationId xmlns:a16="http://schemas.microsoft.com/office/drawing/2014/main" id="{CA552D1F-1953-4032-8CCC-E75186E1F6E9}"/>
              </a:ext>
            </a:extLst>
          </p:cNvPr>
          <p:cNvSpPr txBox="1">
            <a:spLocks/>
          </p:cNvSpPr>
          <p:nvPr/>
        </p:nvSpPr>
        <p:spPr>
          <a:xfrm>
            <a:off x="4912033" y="1029923"/>
            <a:ext cx="3994202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 lang="ru-RU" sz="2400" dirty="0">
              <a:solidFill>
                <a:srgbClr val="8600FF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AEBC07DC-EF26-4F9B-AFC0-20DC81A47B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2033" y="3197669"/>
            <a:ext cx="1155160" cy="1465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830350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EA12BB57-AA17-459A-8B17-6F8EC308545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692630" y="991792"/>
            <a:ext cx="4213605" cy="208967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EF88D24E-98BF-400D-8456-B2DB7D50A3DC}"/>
              </a:ext>
            </a:extLst>
          </p:cNvPr>
          <p:cNvSpPr txBox="1">
            <a:spLocks/>
          </p:cNvSpPr>
          <p:nvPr/>
        </p:nvSpPr>
        <p:spPr>
          <a:xfrm>
            <a:off x="341376" y="1017897"/>
            <a:ext cx="4109996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 "/>
              </a:rPr>
              <a:t>Вопрос: </a:t>
            </a:r>
            <a:r>
              <a:rPr lang="ru-RU" sz="2000" dirty="0"/>
              <a:t>Как поступить, если вы получили сообщение в соцсети от друга, который просит денег взаймы?</a:t>
            </a:r>
          </a:p>
        </p:txBody>
      </p:sp>
      <p:sp>
        <p:nvSpPr>
          <p:cNvPr id="15" name="Текст 1">
            <a:extLst>
              <a:ext uri="{FF2B5EF4-FFF2-40B4-BE49-F238E27FC236}">
                <a16:creationId xmlns:a16="http://schemas.microsoft.com/office/drawing/2014/main" id="{CA552D1F-1953-4032-8CCC-E75186E1F6E9}"/>
              </a:ext>
            </a:extLst>
          </p:cNvPr>
          <p:cNvSpPr txBox="1">
            <a:spLocks/>
          </p:cNvSpPr>
          <p:nvPr/>
        </p:nvSpPr>
        <p:spPr>
          <a:xfrm>
            <a:off x="4912033" y="1029923"/>
            <a:ext cx="3994202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 "/>
              </a:rPr>
              <a:t>Ответ: </a:t>
            </a:r>
            <a:r>
              <a:rPr lang="ru-RU" sz="2000" dirty="0">
                <a:solidFill>
                  <a:srgbClr val="8600FF"/>
                </a:solidFill>
              </a:rPr>
              <a:t>Проверить друга. Спросить, например, как зовут учителя физкультуры в вашей школе</a:t>
            </a:r>
            <a:r>
              <a:rPr lang="ru-RU" sz="2400" dirty="0">
                <a:solidFill>
                  <a:srgbClr val="8600FF"/>
                </a:solidFill>
              </a:rPr>
              <a:t>.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AEBC07DC-EF26-4F9B-AFC0-20DC81A47BE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912033" y="3197669"/>
            <a:ext cx="1155160" cy="1465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390531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7931C5D-181E-49D6-893B-EE5E91E28EA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021963" y="991791"/>
            <a:ext cx="4963571" cy="2148568"/>
          </a:xfrm>
          <a:prstGeom prst="rect">
            <a:avLst/>
          </a:prstGeom>
        </p:spPr>
      </p:pic>
      <p:sp>
        <p:nvSpPr>
          <p:cNvPr id="13" name="Текст 1">
            <a:extLst>
              <a:ext uri="{FF2B5EF4-FFF2-40B4-BE49-F238E27FC236}">
                <a16:creationId xmlns:a16="http://schemas.microsoft.com/office/drawing/2014/main" id="{9C26F8B5-DEE2-4456-AEC3-4D195FCCC7D2}"/>
              </a:ext>
            </a:extLst>
          </p:cNvPr>
          <p:cNvSpPr txBox="1">
            <a:spLocks/>
          </p:cNvSpPr>
          <p:nvPr/>
        </p:nvSpPr>
        <p:spPr>
          <a:xfrm>
            <a:off x="158466" y="1017897"/>
            <a:ext cx="3782355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</a:t>
            </a:r>
            <a:r>
              <a:rPr lang="ru-RU" sz="2400" dirty="0">
                <a:latin typeface="Rostelecom Basis Medium" panose="020B0603030604040103" pitchFamily="34" charset="0"/>
              </a:rPr>
              <a:t> </a:t>
            </a:r>
            <a:r>
              <a:rPr lang="ru-RU" sz="2000" dirty="0"/>
              <a:t>Что делать, если вы получили письмо от своего банка, в котором просят сообщить или подтвердить ваши персональные данные? </a:t>
            </a:r>
            <a:endParaRPr lang="ru-RU" sz="2400" dirty="0"/>
          </a:p>
        </p:txBody>
      </p:sp>
      <p:sp>
        <p:nvSpPr>
          <p:cNvPr id="14" name="Текст 1">
            <a:extLst>
              <a:ext uri="{FF2B5EF4-FFF2-40B4-BE49-F238E27FC236}">
                <a16:creationId xmlns:a16="http://schemas.microsoft.com/office/drawing/2014/main" id="{22C61679-3A7F-4BE8-9C32-4D1EB6BA6C89}"/>
              </a:ext>
            </a:extLst>
          </p:cNvPr>
          <p:cNvSpPr txBox="1">
            <a:spLocks/>
          </p:cNvSpPr>
          <p:nvPr/>
        </p:nvSpPr>
        <p:spPr>
          <a:xfrm>
            <a:off x="4194127" y="1021007"/>
            <a:ext cx="4694525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 lang="ru-RU" sz="2000" dirty="0">
              <a:solidFill>
                <a:srgbClr val="8600FF"/>
              </a:solidFill>
            </a:endParaRP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F84E1E7-9EF1-457B-8A2A-9E378C5F1B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502167" y="3221344"/>
            <a:ext cx="3097292" cy="930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315690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17653" y="245039"/>
            <a:ext cx="8219998" cy="433965"/>
          </a:xfrm>
        </p:spPr>
        <p:txBody>
          <a:bodyPr/>
          <a:lstStyle/>
          <a:p>
            <a:pPr lvl="0"/>
            <a:r>
              <a:rPr lang="ru-RU" dirty="0"/>
              <a:t>Прогноз ООН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852416" y="782391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782391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16294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793459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id="{868492A3-94D8-4439-9307-98F0CA1E5768}"/>
              </a:ext>
            </a:extLst>
          </p:cNvPr>
          <p:cNvGrpSpPr/>
          <p:nvPr/>
        </p:nvGrpSpPr>
        <p:grpSpPr>
          <a:xfrm>
            <a:off x="443281" y="1125899"/>
            <a:ext cx="7797268" cy="2829614"/>
            <a:chOff x="2518206" y="2331614"/>
            <a:chExt cx="5931772" cy="2152629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3D9E90B8-F7AD-403A-B7C3-7A005B45879E}"/>
                </a:ext>
              </a:extLst>
            </p:cNvPr>
            <p:cNvSpPr txBox="1"/>
            <p:nvPr/>
          </p:nvSpPr>
          <p:spPr>
            <a:xfrm>
              <a:off x="2518206" y="2435961"/>
              <a:ext cx="564865" cy="2809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ru-RU" sz="1800" b="0" dirty="0">
                  <a:solidFill>
                    <a:srgbClr val="8600FF"/>
                  </a:solidFill>
                  <a:latin typeface="Rostelecom Basis Medium" panose="020B0603030604040103" pitchFamily="34" charset="0"/>
                </a:rPr>
                <a:t>1950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71383DB0-E5EE-4172-A91A-C138D1519A29}"/>
                </a:ext>
              </a:extLst>
            </p:cNvPr>
            <p:cNvSpPr txBox="1"/>
            <p:nvPr/>
          </p:nvSpPr>
          <p:spPr>
            <a:xfrm>
              <a:off x="2518206" y="3275436"/>
              <a:ext cx="566085" cy="2809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800" b="0" dirty="0">
                  <a:solidFill>
                    <a:srgbClr val="8600FF"/>
                  </a:solidFill>
                  <a:latin typeface="Rostelecom Basis Medium" panose="020B0603030604040103" pitchFamily="34" charset="0"/>
                </a:rPr>
                <a:t>2010</a:t>
              </a:r>
              <a:endParaRPr lang="ru-RU" sz="1800" b="0" dirty="0">
                <a:solidFill>
                  <a:srgbClr val="8600FF"/>
                </a:solidFill>
                <a:latin typeface="Rostelecom Basis Medium" panose="020B0603030604040103" pitchFamily="34" charset="0"/>
              </a:endParaRP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63590E41-1F61-4855-96C0-9426520E663D}"/>
                </a:ext>
              </a:extLst>
            </p:cNvPr>
            <p:cNvSpPr txBox="1"/>
            <p:nvPr/>
          </p:nvSpPr>
          <p:spPr>
            <a:xfrm>
              <a:off x="2518206" y="4114911"/>
              <a:ext cx="603889" cy="2809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800" b="0" dirty="0">
                  <a:solidFill>
                    <a:srgbClr val="8600FF"/>
                  </a:solidFill>
                  <a:latin typeface="Rostelecom Basis Medium" panose="020B0603030604040103" pitchFamily="34" charset="0"/>
                </a:rPr>
                <a:t>2050</a:t>
              </a:r>
              <a:endParaRPr lang="ru-RU" sz="1800" b="0" dirty="0">
                <a:solidFill>
                  <a:srgbClr val="8600FF"/>
                </a:solidFill>
                <a:latin typeface="Rostelecom Basis Medium" panose="020B0603030604040103" pitchFamily="34" charset="0"/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E9178A6C-1641-43A6-AFD6-B0EACCF6D137}"/>
                </a:ext>
              </a:extLst>
            </p:cNvPr>
            <p:cNvSpPr txBox="1"/>
            <p:nvPr/>
          </p:nvSpPr>
          <p:spPr>
            <a:xfrm>
              <a:off x="7938770" y="2435961"/>
              <a:ext cx="507550" cy="2809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800" b="0" dirty="0">
                  <a:solidFill>
                    <a:srgbClr val="8600FF"/>
                  </a:solidFill>
                  <a:latin typeface="Rostelecom Basis Medium" panose="020B0603030604040103" pitchFamily="34" charset="0"/>
                </a:rPr>
                <a:t>29%</a:t>
              </a:r>
              <a:endParaRPr lang="ru-RU" sz="1800" b="0" dirty="0">
                <a:solidFill>
                  <a:srgbClr val="8600FF"/>
                </a:solidFill>
                <a:latin typeface="Rostelecom Basis Medium" panose="020B0603030604040103" pitchFamily="34" charset="0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FD79682-85D6-44FC-B77A-DA4735B28906}"/>
                </a:ext>
              </a:extLst>
            </p:cNvPr>
            <p:cNvSpPr txBox="1"/>
            <p:nvPr/>
          </p:nvSpPr>
          <p:spPr>
            <a:xfrm>
              <a:off x="7938770" y="3275436"/>
              <a:ext cx="479501" cy="2809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800" b="0" dirty="0">
                  <a:solidFill>
                    <a:srgbClr val="8600FF"/>
                  </a:solidFill>
                  <a:latin typeface="Rostelecom Basis Medium" panose="020B0603030604040103" pitchFamily="34" charset="0"/>
                </a:rPr>
                <a:t>51%</a:t>
              </a:r>
              <a:endParaRPr lang="ru-RU" sz="1800" b="0" dirty="0">
                <a:solidFill>
                  <a:srgbClr val="8600FF"/>
                </a:solidFill>
                <a:latin typeface="Rostelecom Basis Medium" panose="020B0603030604040103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85866768-79A5-49B8-9661-4BF923ACF4B5}"/>
                </a:ext>
              </a:extLst>
            </p:cNvPr>
            <p:cNvSpPr txBox="1"/>
            <p:nvPr/>
          </p:nvSpPr>
          <p:spPr>
            <a:xfrm>
              <a:off x="7938770" y="4114911"/>
              <a:ext cx="511208" cy="28096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1800" b="0" dirty="0">
                  <a:solidFill>
                    <a:srgbClr val="8600FF"/>
                  </a:solidFill>
                  <a:latin typeface="Rostelecom Basis Medium" panose="020B0603030604040103" pitchFamily="34" charset="0"/>
                </a:rPr>
                <a:t>67%</a:t>
              </a:r>
              <a:endParaRPr lang="ru-RU" sz="1800" b="0" dirty="0">
                <a:solidFill>
                  <a:srgbClr val="8600FF"/>
                </a:solidFill>
                <a:latin typeface="Rostelecom Basis Medium" panose="020B0603030604040103" pitchFamily="34" charset="0"/>
              </a:endParaRPr>
            </a:p>
          </p:txBody>
        </p:sp>
        <p:pic>
          <p:nvPicPr>
            <p:cNvPr id="19" name="Рисунок 18">
              <a:extLst>
                <a:ext uri="{FF2B5EF4-FFF2-40B4-BE49-F238E27FC236}">
                  <a16:creationId xmlns:a16="http://schemas.microsoft.com/office/drawing/2014/main" id="{CD9DD64F-3237-4C26-B67B-3358BCCD44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67275" y="2331614"/>
              <a:ext cx="4316232" cy="215262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4228686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67931C5D-181E-49D6-893B-EE5E91E28EA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flipH="1">
            <a:off x="4021963" y="991791"/>
            <a:ext cx="4963571" cy="2148568"/>
          </a:xfrm>
          <a:prstGeom prst="rect">
            <a:avLst/>
          </a:prstGeom>
        </p:spPr>
      </p:pic>
      <p:sp>
        <p:nvSpPr>
          <p:cNvPr id="13" name="Текст 1">
            <a:extLst>
              <a:ext uri="{FF2B5EF4-FFF2-40B4-BE49-F238E27FC236}">
                <a16:creationId xmlns:a16="http://schemas.microsoft.com/office/drawing/2014/main" id="{9C26F8B5-DEE2-4456-AEC3-4D195FCCC7D2}"/>
              </a:ext>
            </a:extLst>
          </p:cNvPr>
          <p:cNvSpPr txBox="1">
            <a:spLocks/>
          </p:cNvSpPr>
          <p:nvPr/>
        </p:nvSpPr>
        <p:spPr>
          <a:xfrm>
            <a:off x="158466" y="1017897"/>
            <a:ext cx="3782355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</a:t>
            </a:r>
            <a:r>
              <a:rPr lang="ru-RU" sz="2400" dirty="0">
                <a:latin typeface="Rostelecom Basis Medium" panose="020B0603030604040103" pitchFamily="34" charset="0"/>
              </a:rPr>
              <a:t> </a:t>
            </a:r>
            <a:r>
              <a:rPr lang="ru-RU" sz="2000" dirty="0"/>
              <a:t>Что делать, если вы получили письмо от своего банка, в котором просят сообщить или подтвердить ваши персональные данные? </a:t>
            </a:r>
            <a:endParaRPr lang="ru-RU" sz="2400" dirty="0"/>
          </a:p>
        </p:txBody>
      </p:sp>
      <p:sp>
        <p:nvSpPr>
          <p:cNvPr id="14" name="Текст 1">
            <a:extLst>
              <a:ext uri="{FF2B5EF4-FFF2-40B4-BE49-F238E27FC236}">
                <a16:creationId xmlns:a16="http://schemas.microsoft.com/office/drawing/2014/main" id="{22C61679-3A7F-4BE8-9C32-4D1EB6BA6C89}"/>
              </a:ext>
            </a:extLst>
          </p:cNvPr>
          <p:cNvSpPr txBox="1">
            <a:spLocks/>
          </p:cNvSpPr>
          <p:nvPr/>
        </p:nvSpPr>
        <p:spPr>
          <a:xfrm>
            <a:off x="4194127" y="1021007"/>
            <a:ext cx="4694525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Ответ: </a:t>
            </a:r>
            <a:r>
              <a:rPr lang="ru-RU" sz="2000" dirty="0">
                <a:solidFill>
                  <a:srgbClr val="8600FF"/>
                </a:solidFill>
              </a:rPr>
              <a:t>Ничего не отправлять, так как банки никогда не запрашивают персональные данные — ни в письмах, ни по телефону.</a:t>
            </a:r>
          </a:p>
        </p:txBody>
      </p:sp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5F84E1E7-9EF1-457B-8A2A-9E378C5F1BB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flipH="1">
            <a:off x="4502167" y="3221344"/>
            <a:ext cx="3097292" cy="9303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33282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E9607135-76D9-4711-A67C-8121F2C6240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4007" y="991792"/>
            <a:ext cx="3363422" cy="171904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1B50DADE-D58F-436E-BA80-A3C8B27FE780}"/>
              </a:ext>
            </a:extLst>
          </p:cNvPr>
          <p:cNvSpPr txBox="1">
            <a:spLocks/>
          </p:cNvSpPr>
          <p:nvPr/>
        </p:nvSpPr>
        <p:spPr>
          <a:xfrm>
            <a:off x="438074" y="1017897"/>
            <a:ext cx="4514252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</a:t>
            </a:r>
            <a:r>
              <a:rPr lang="ru-RU" sz="2400" dirty="0">
                <a:latin typeface="Rostelecom Basis Medium" panose="020B0603030604040103" pitchFamily="34" charset="0"/>
              </a:rPr>
              <a:t> </a:t>
            </a:r>
            <a:r>
              <a:rPr lang="ru-RU" sz="2000" dirty="0"/>
              <a:t>Вам пришло письмо от имени </a:t>
            </a:r>
            <a:r>
              <a:rPr lang="ru-RU" sz="2000" dirty="0" err="1"/>
              <a:t>Яндекс.Денег</a:t>
            </a:r>
            <a:r>
              <a:rPr lang="ru-RU" sz="2000" dirty="0"/>
              <a:t>. Как распознать поддельный сайт? (например, http://money-yanbex.ru)</a:t>
            </a:r>
          </a:p>
        </p:txBody>
      </p:sp>
      <p:sp>
        <p:nvSpPr>
          <p:cNvPr id="15" name="Текст 1">
            <a:extLst>
              <a:ext uri="{FF2B5EF4-FFF2-40B4-BE49-F238E27FC236}">
                <a16:creationId xmlns:a16="http://schemas.microsoft.com/office/drawing/2014/main" id="{8C49C065-4135-4848-A1D3-3213F6AE3E26}"/>
              </a:ext>
            </a:extLst>
          </p:cNvPr>
          <p:cNvSpPr txBox="1">
            <a:spLocks/>
          </p:cNvSpPr>
          <p:nvPr/>
        </p:nvSpPr>
        <p:spPr>
          <a:xfrm>
            <a:off x="5392154" y="1021007"/>
            <a:ext cx="3897503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 lang="ru-RU" sz="2400" dirty="0">
              <a:solidFill>
                <a:srgbClr val="8600FF"/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F7361DC-F87C-466A-B638-6390C2C40B8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22181" y="2830977"/>
            <a:ext cx="1793567" cy="1586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529918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E9607135-76D9-4711-A67C-8121F2C6240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174007" y="991792"/>
            <a:ext cx="3363422" cy="1719040"/>
          </a:xfrm>
          <a:prstGeom prst="rect">
            <a:avLst/>
          </a:prstGeom>
        </p:spPr>
      </p:pic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1B50DADE-D58F-436E-BA80-A3C8B27FE780}"/>
              </a:ext>
            </a:extLst>
          </p:cNvPr>
          <p:cNvSpPr txBox="1">
            <a:spLocks/>
          </p:cNvSpPr>
          <p:nvPr/>
        </p:nvSpPr>
        <p:spPr>
          <a:xfrm>
            <a:off x="438074" y="1017897"/>
            <a:ext cx="4514252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</a:t>
            </a:r>
            <a:r>
              <a:rPr lang="ru-RU" sz="2400" dirty="0">
                <a:latin typeface="Rostelecom Basis Medium" panose="020B0603030604040103" pitchFamily="34" charset="0"/>
              </a:rPr>
              <a:t> </a:t>
            </a:r>
            <a:r>
              <a:rPr lang="ru-RU" sz="2000" dirty="0"/>
              <a:t>Вам пришло письмо от имени </a:t>
            </a:r>
            <a:r>
              <a:rPr lang="ru-RU" sz="2000" dirty="0" err="1"/>
              <a:t>Яндекс.Денег</a:t>
            </a:r>
            <a:r>
              <a:rPr lang="ru-RU" sz="2000" dirty="0"/>
              <a:t>. Как распознать поддельный сайт? (например, http://money-yanbex.ru)</a:t>
            </a:r>
          </a:p>
        </p:txBody>
      </p:sp>
      <p:sp>
        <p:nvSpPr>
          <p:cNvPr id="15" name="Текст 1">
            <a:extLst>
              <a:ext uri="{FF2B5EF4-FFF2-40B4-BE49-F238E27FC236}">
                <a16:creationId xmlns:a16="http://schemas.microsoft.com/office/drawing/2014/main" id="{8C49C065-4135-4848-A1D3-3213F6AE3E26}"/>
              </a:ext>
            </a:extLst>
          </p:cNvPr>
          <p:cNvSpPr txBox="1">
            <a:spLocks/>
          </p:cNvSpPr>
          <p:nvPr/>
        </p:nvSpPr>
        <p:spPr>
          <a:xfrm>
            <a:off x="5392154" y="1021007"/>
            <a:ext cx="3897503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Ответ: </a:t>
            </a:r>
            <a:r>
              <a:rPr lang="ru-RU" sz="2000" dirty="0">
                <a:solidFill>
                  <a:srgbClr val="8600FF"/>
                </a:solidFill>
              </a:rPr>
              <a:t>По опечаткам </a:t>
            </a:r>
          </a:p>
          <a:p>
            <a:pPr>
              <a:spcBef>
                <a:spcPts val="0"/>
              </a:spcBef>
            </a:pPr>
            <a:r>
              <a:rPr lang="ru-RU" sz="2000" dirty="0">
                <a:solidFill>
                  <a:srgbClr val="8600FF"/>
                </a:solidFill>
              </a:rPr>
              <a:t>в адресной строке (http://money-yanbex.ru).</a:t>
            </a:r>
          </a:p>
          <a:p>
            <a:endParaRPr lang="ru-RU" sz="2400" dirty="0">
              <a:solidFill>
                <a:srgbClr val="8600FF"/>
              </a:solidFill>
            </a:endParaRPr>
          </a:p>
        </p:txBody>
      </p:sp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FF7361DC-F87C-466A-B638-6390C2C40B8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522181" y="2830977"/>
            <a:ext cx="1793567" cy="15865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3463233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8CB1DB69-355F-4EB7-8F82-1DA173CD53C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1683" y="1000855"/>
            <a:ext cx="3181408" cy="1570896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30EE8A14-E493-4132-982D-F31B40315F47}"/>
              </a:ext>
            </a:extLst>
          </p:cNvPr>
          <p:cNvSpPr txBox="1">
            <a:spLocks/>
          </p:cNvSpPr>
          <p:nvPr/>
        </p:nvSpPr>
        <p:spPr>
          <a:xfrm>
            <a:off x="438075" y="1017897"/>
            <a:ext cx="4150944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 </a:t>
            </a:r>
            <a:r>
              <a:rPr lang="ru-RU" sz="2000" dirty="0"/>
              <a:t>Какой интернет-протокол обеспечивает безопасный просмотр сайтов? </a:t>
            </a:r>
            <a:endParaRPr lang="ru-RU" sz="2400" dirty="0"/>
          </a:p>
        </p:txBody>
      </p:sp>
      <p:sp>
        <p:nvSpPr>
          <p:cNvPr id="23" name="Текст 1">
            <a:extLst>
              <a:ext uri="{FF2B5EF4-FFF2-40B4-BE49-F238E27FC236}">
                <a16:creationId xmlns:a16="http://schemas.microsoft.com/office/drawing/2014/main" id="{DB5BCBAC-1D43-4C90-84A4-C4E1D2D0AF0C}"/>
              </a:ext>
            </a:extLst>
          </p:cNvPr>
          <p:cNvSpPr txBox="1">
            <a:spLocks/>
          </p:cNvSpPr>
          <p:nvPr/>
        </p:nvSpPr>
        <p:spPr>
          <a:xfrm>
            <a:off x="4897937" y="1029923"/>
            <a:ext cx="2804515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 lang="ru-RU" sz="2400" dirty="0">
              <a:solidFill>
                <a:srgbClr val="8600FF"/>
              </a:solidFill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EA3249DE-164D-4974-88EC-089C2504CB3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12937" y="2103674"/>
            <a:ext cx="1336925" cy="2576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679676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Рисунок 18">
            <a:extLst>
              <a:ext uri="{FF2B5EF4-FFF2-40B4-BE49-F238E27FC236}">
                <a16:creationId xmlns:a16="http://schemas.microsoft.com/office/drawing/2014/main" id="{8CB1DB69-355F-4EB7-8F82-1DA173CD53C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51683" y="1000855"/>
            <a:ext cx="3181408" cy="1570896"/>
          </a:xfrm>
          <a:prstGeom prst="rect">
            <a:avLst/>
          </a:prstGeom>
        </p:spPr>
      </p:pic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13" name="Текст 1">
            <a:extLst>
              <a:ext uri="{FF2B5EF4-FFF2-40B4-BE49-F238E27FC236}">
                <a16:creationId xmlns:a16="http://schemas.microsoft.com/office/drawing/2014/main" id="{30EE8A14-E493-4132-982D-F31B40315F47}"/>
              </a:ext>
            </a:extLst>
          </p:cNvPr>
          <p:cNvSpPr txBox="1">
            <a:spLocks/>
          </p:cNvSpPr>
          <p:nvPr/>
        </p:nvSpPr>
        <p:spPr>
          <a:xfrm>
            <a:off x="438075" y="1017897"/>
            <a:ext cx="4150944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 </a:t>
            </a:r>
            <a:r>
              <a:rPr lang="ru-RU" sz="2000" dirty="0"/>
              <a:t>Какой интернет-протокол обеспечивает безопасный просмотр сайтов? </a:t>
            </a:r>
            <a:endParaRPr lang="ru-RU" sz="2400" dirty="0"/>
          </a:p>
        </p:txBody>
      </p:sp>
      <p:sp>
        <p:nvSpPr>
          <p:cNvPr id="23" name="Текст 1">
            <a:extLst>
              <a:ext uri="{FF2B5EF4-FFF2-40B4-BE49-F238E27FC236}">
                <a16:creationId xmlns:a16="http://schemas.microsoft.com/office/drawing/2014/main" id="{DB5BCBAC-1D43-4C90-84A4-C4E1D2D0AF0C}"/>
              </a:ext>
            </a:extLst>
          </p:cNvPr>
          <p:cNvSpPr txBox="1">
            <a:spLocks/>
          </p:cNvSpPr>
          <p:nvPr/>
        </p:nvSpPr>
        <p:spPr>
          <a:xfrm>
            <a:off x="4897937" y="1029923"/>
            <a:ext cx="2804515" cy="3516629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Ответ: </a:t>
            </a:r>
            <a:r>
              <a:rPr lang="ru-RU" sz="2000" dirty="0">
                <a:solidFill>
                  <a:srgbClr val="8600FF"/>
                </a:solidFill>
              </a:rPr>
              <a:t>Первые буквы в адресной строке браузера. https:// </a:t>
            </a:r>
          </a:p>
          <a:p>
            <a:endParaRPr lang="ru-RU" sz="2400" dirty="0">
              <a:solidFill>
                <a:srgbClr val="8600FF"/>
              </a:solidFill>
            </a:endParaRPr>
          </a:p>
        </p:txBody>
      </p:sp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EA3249DE-164D-4974-88EC-089C2504CB3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612937" y="2103674"/>
            <a:ext cx="1336925" cy="25763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349322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89ED528-CE2F-4C9E-BF13-5F2D19277AB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51682" y="991792"/>
            <a:ext cx="2552093" cy="1754564"/>
          </a:xfrm>
          <a:prstGeom prst="rect">
            <a:avLst/>
          </a:prstGeom>
        </p:spPr>
      </p:pic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438075" y="985998"/>
            <a:ext cx="4150944" cy="3516629"/>
          </a:xfrm>
        </p:spPr>
        <p:txBody>
          <a:bodyPr anchor="t"/>
          <a:lstStyle/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 </a:t>
            </a:r>
            <a:r>
              <a:rPr lang="ru-RU" sz="2000" dirty="0"/>
              <a:t>Как лучше всего сообщить близким номер своей банковской карты?</a:t>
            </a:r>
            <a:endParaRPr lang="ru-RU" sz="24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2" name="Текст 1">
            <a:extLst>
              <a:ext uri="{FF2B5EF4-FFF2-40B4-BE49-F238E27FC236}">
                <a16:creationId xmlns:a16="http://schemas.microsoft.com/office/drawing/2014/main" id="{DE16139C-DCB7-466E-9626-36E01F9D8FAF}"/>
              </a:ext>
            </a:extLst>
          </p:cNvPr>
          <p:cNvSpPr txBox="1">
            <a:spLocks/>
          </p:cNvSpPr>
          <p:nvPr/>
        </p:nvSpPr>
        <p:spPr>
          <a:xfrm>
            <a:off x="4808422" y="1469397"/>
            <a:ext cx="2798091" cy="1010670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endParaRPr lang="ru-RU" sz="2400" dirty="0">
              <a:solidFill>
                <a:srgbClr val="8600FF"/>
              </a:solidFill>
            </a:endParaRP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70F1A076-69F3-4EDE-A5C3-03D7041FF2C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9278" y="2480066"/>
            <a:ext cx="1363832" cy="224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0922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D89ED528-CE2F-4C9E-BF13-5F2D19277AB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51682" y="991792"/>
            <a:ext cx="2552093" cy="1754564"/>
          </a:xfrm>
          <a:prstGeom prst="rect">
            <a:avLst/>
          </a:prstGeom>
        </p:spPr>
      </p:pic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438075" y="985998"/>
            <a:ext cx="4150944" cy="3516629"/>
          </a:xfrm>
        </p:spPr>
        <p:txBody>
          <a:bodyPr anchor="t"/>
          <a:lstStyle/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Вопрос: </a:t>
            </a:r>
            <a:r>
              <a:rPr lang="ru-RU" sz="2000" dirty="0"/>
              <a:t>Как лучше всего сообщить близким номер своей банковской карты?</a:t>
            </a:r>
            <a:endParaRPr lang="ru-RU" sz="24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2" name="Текст 1">
            <a:extLst>
              <a:ext uri="{FF2B5EF4-FFF2-40B4-BE49-F238E27FC236}">
                <a16:creationId xmlns:a16="http://schemas.microsoft.com/office/drawing/2014/main" id="{DE16139C-DCB7-466E-9626-36E01F9D8FAF}"/>
              </a:ext>
            </a:extLst>
          </p:cNvPr>
          <p:cNvSpPr txBox="1">
            <a:spLocks/>
          </p:cNvSpPr>
          <p:nvPr/>
        </p:nvSpPr>
        <p:spPr>
          <a:xfrm>
            <a:off x="4808422" y="1469397"/>
            <a:ext cx="2798091" cy="1010670"/>
          </a:xfrm>
          <a:prstGeom prst="rect">
            <a:avLst/>
          </a:prstGeom>
        </p:spPr>
        <p:txBody>
          <a:bodyPr lIns="0" tIns="90000" anchor="t">
            <a:noAutofit/>
          </a:bodyPr>
          <a:lstStyle>
            <a:lvl1pPr marL="0" marR="0" indent="0" algn="l" defTabSz="309563" eaLnBrk="1" latinLnBrk="0" hangingPunct="1">
              <a:lnSpc>
                <a:spcPct val="13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None/>
              <a:tabLst/>
              <a:defRPr sz="120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Rostelecom Basis" panose="020B0503030604040103" pitchFamily="34" charset="0"/>
                <a:ea typeface="Helvetica Neue"/>
                <a:cs typeface="Helvetica Neue"/>
                <a:sym typeface="Helvetica Neue"/>
              </a:defRPr>
            </a:lvl1pPr>
            <a:lvl2pPr marL="4762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7143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9525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11906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142875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166687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1905000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2143125" marR="0" indent="-238125" algn="l" defTabSz="309563" eaLnBrk="1" latinLnBrk="0" hangingPunct="1">
              <a:lnSpc>
                <a:spcPct val="100000"/>
              </a:lnSpc>
              <a:spcBef>
                <a:spcPts val="2213"/>
              </a:spcBef>
              <a:spcAft>
                <a:spcPts val="0"/>
              </a:spcAft>
              <a:buClrTx/>
              <a:buSzPct val="125000"/>
              <a:buFontTx/>
              <a:buChar char="•"/>
              <a:tabLst/>
              <a:defRPr sz="1950" b="0" i="0" u="none" strike="noStrike" cap="none" spc="0" baseline="0">
                <a:ln>
                  <a:noFill/>
                </a:ln>
                <a:solidFill>
                  <a:srgbClr val="000000"/>
                </a:solidFill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r>
              <a:rPr lang="ru-RU" sz="240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Ответ: </a:t>
            </a:r>
            <a:r>
              <a:rPr lang="ru-RU" sz="2400" dirty="0">
                <a:solidFill>
                  <a:srgbClr val="8600FF"/>
                </a:solidFill>
              </a:rPr>
              <a:t>Лично!!!</a:t>
            </a:r>
          </a:p>
        </p:txBody>
      </p:sp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70F1A076-69F3-4EDE-A5C3-03D7041FF2C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309278" y="2480066"/>
            <a:ext cx="1363832" cy="224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860875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553534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0C46F2C-FA71-46A3-8228-81442AA7D1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0744" y="182173"/>
            <a:ext cx="7082679" cy="646331"/>
          </a:xfrm>
          <a:noFill/>
        </p:spPr>
        <p:txBody>
          <a:bodyPr/>
          <a:lstStyle/>
          <a:p>
            <a:r>
              <a:rPr lang="ru-RU" sz="2400" dirty="0">
                <a:solidFill>
                  <a:srgbClr val="8600FF"/>
                </a:solidFill>
              </a:rPr>
              <a:t>Компоненты Умных городов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3DE59A-28BA-4119-9974-DAD75737ED23}"/>
              </a:ext>
            </a:extLst>
          </p:cNvPr>
          <p:cNvSpPr txBox="1"/>
          <p:nvPr/>
        </p:nvSpPr>
        <p:spPr>
          <a:xfrm>
            <a:off x="349478" y="1459813"/>
            <a:ext cx="3812946" cy="24079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Видеонаблюдение и </a:t>
            </a:r>
            <a:r>
              <a:rPr lang="ru-RU" b="0" dirty="0" err="1">
                <a:solidFill>
                  <a:schemeClr val="bg1"/>
                </a:solidFill>
                <a:latin typeface="Rostelecom Basis" panose="020B0503030604040103" pitchFamily="34" charset="0"/>
              </a:rPr>
              <a:t>видеоаналитика</a:t>
            </a:r>
            <a:endParaRPr lang="ru-RU" b="0" dirty="0">
              <a:solidFill>
                <a:schemeClr val="bg1"/>
              </a:solidFill>
              <a:latin typeface="Rostelecom Basis" panose="020B0503030604040103" pitchFamily="34" charset="0"/>
            </a:endParaRP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Камеры </a:t>
            </a:r>
            <a:r>
              <a:rPr lang="ru-RU" b="0" dirty="0" err="1">
                <a:solidFill>
                  <a:schemeClr val="bg1"/>
                </a:solidFill>
                <a:latin typeface="Rostelecom Basis" panose="020B0503030604040103" pitchFamily="34" charset="0"/>
              </a:rPr>
              <a:t>видеофиксации</a:t>
            </a:r>
            <a:endParaRPr lang="ru-RU" b="0" dirty="0">
              <a:solidFill>
                <a:schemeClr val="bg1"/>
              </a:solidFill>
              <a:latin typeface="Rostelecom Basis" panose="020B0503030604040103" pitchFamily="34" charset="0"/>
            </a:endParaRP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Ситуационные центры, ЕДДС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Система 112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ИТС – интеллектуальные транспортные системы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Безопасность на общественном транспорте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Профессиональная радиосвязь и широкополосный доступ (LTE, 5G)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 err="1">
                <a:solidFill>
                  <a:schemeClr val="bg1"/>
                </a:solidFill>
                <a:latin typeface="Rostelecom Basis" panose="020B0503030604040103" pitchFamily="34" charset="0"/>
              </a:rPr>
              <a:t>IoT</a:t>
            </a: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 – Интернет вещей</a:t>
            </a:r>
            <a:endParaRPr lang="en-US" b="0" dirty="0">
              <a:solidFill>
                <a:schemeClr val="bg1"/>
              </a:solidFill>
              <a:latin typeface="Rostelecom Basis" panose="020B0503030604040103" pitchFamily="34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8EAFAE-1445-4F35-9589-89F4B9FC4A7F}"/>
              </a:ext>
            </a:extLst>
          </p:cNvPr>
          <p:cNvSpPr txBox="1"/>
          <p:nvPr/>
        </p:nvSpPr>
        <p:spPr>
          <a:xfrm>
            <a:off x="4685126" y="1459813"/>
            <a:ext cx="3479571" cy="24079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Беспилотные автомобили</a:t>
            </a:r>
            <a:endParaRPr lang="en-US" b="0" dirty="0">
              <a:solidFill>
                <a:schemeClr val="bg1"/>
              </a:solidFill>
              <a:latin typeface="Rostelecom Basis" panose="020B0503030604040103" pitchFamily="34" charset="0"/>
            </a:endParaRP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Биометрия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Обработка неструктурированных данных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Технологии поддержки принятия решений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Дополненная и виртуальная реальность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Распределенные базы данных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Геоинформационные технологии и навигация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Машинное обучение</a:t>
            </a:r>
          </a:p>
          <a:p>
            <a:pPr marL="171450" indent="-171450" algn="l">
              <a:lnSpc>
                <a:spcPct val="150000"/>
              </a:lnSpc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b="0" dirty="0">
                <a:solidFill>
                  <a:schemeClr val="bg1"/>
                </a:solidFill>
                <a:latin typeface="Rostelecom Basis" panose="020B0503030604040103" pitchFamily="34" charset="0"/>
              </a:rPr>
              <a:t>Облачные/туманные/граничные вычисления</a:t>
            </a: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D16B22F-8C70-415E-BBF0-BB7AFAE1871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89622" y="412063"/>
            <a:ext cx="1104900" cy="1047750"/>
          </a:xfrm>
          <a:prstGeom prst="rect">
            <a:avLst/>
          </a:prstGeom>
        </p:spPr>
      </p:pic>
      <p:sp>
        <p:nvSpPr>
          <p:cNvPr id="9" name="Номер слайда 1">
            <a:extLst>
              <a:ext uri="{FF2B5EF4-FFF2-40B4-BE49-F238E27FC236}">
                <a16:creationId xmlns:a16="http://schemas.microsoft.com/office/drawing/2014/main" id="{3B6446AA-9520-42E6-8985-E1FE2EBEF31C}"/>
              </a:ext>
            </a:extLst>
          </p:cNvPr>
          <p:cNvSpPr txBox="1">
            <a:spLocks/>
          </p:cNvSpPr>
          <p:nvPr/>
        </p:nvSpPr>
        <p:spPr>
          <a:xfrm>
            <a:off x="7547773" y="4701810"/>
            <a:ext cx="2057400" cy="273844"/>
          </a:xfrm>
          <a:prstGeom prst="rect">
            <a:avLst/>
          </a:prstGeom>
        </p:spPr>
        <p:txBody>
          <a:bodyPr/>
          <a:lstStyle>
            <a:defPPr marL="0" marR="0" indent="0" algn="l" defTabSz="3429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75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1pPr>
            <a:lvl2pPr marL="0" marR="0" indent="857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2pPr>
            <a:lvl3pPr marL="0" marR="0" indent="1714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3pPr>
            <a:lvl4pPr marL="0" marR="0" indent="2571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4pPr>
            <a:lvl5pPr marL="0" marR="0" indent="3429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5pPr>
            <a:lvl6pPr marL="0" marR="0" indent="42862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6pPr>
            <a:lvl7pPr marL="0" marR="0" indent="51435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7pPr>
            <a:lvl8pPr marL="0" marR="0" indent="600075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8pPr>
            <a:lvl9pPr marL="0" marR="0" indent="685800" algn="ctr" defTabSz="309563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125" b="1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Helvetica Neue"/>
                <a:ea typeface="Helvetica Neue"/>
                <a:cs typeface="Helvetica Neue"/>
                <a:sym typeface="Helvetica Neue"/>
              </a:defRPr>
            </a:lvl9pPr>
          </a:lstStyle>
          <a:p>
            <a:fld id="{B6F15528-21DE-4FAA-801E-634DDDAF4B2B}" type="slidenum">
              <a:rPr lang="ru-RU" smtClean="0">
                <a:solidFill>
                  <a:schemeClr val="bg1"/>
                </a:solidFill>
                <a:latin typeface="Rostelecom Basis Medium" panose="020B0603030604040103" pitchFamily="34" charset="0"/>
              </a:rPr>
              <a:pPr/>
              <a:t>4</a:t>
            </a:fld>
            <a:endParaRPr lang="ru-RU" dirty="0">
              <a:solidFill>
                <a:schemeClr val="bg1"/>
              </a:solidFill>
              <a:latin typeface="Rostelecom Basis Medium" panose="020B06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39699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BBE8B606-E9BF-4F65-977B-3A86F5B41BE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0" y="0"/>
            <a:ext cx="9144000" cy="5143500"/>
          </a:xfrm>
        </p:spPr>
      </p:pic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E63F51AA-446E-4C3F-AB40-CF695B0229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16" y="401694"/>
            <a:ext cx="6487257" cy="571919"/>
          </a:xfrm>
        </p:spPr>
        <p:txBody>
          <a:bodyPr/>
          <a:lstStyle/>
          <a:p>
            <a:pPr lvl="0"/>
            <a:r>
              <a:rPr lang="ru-RU" sz="2400" dirty="0"/>
              <a:t>Угрозы кибербезопасности умных городов</a:t>
            </a:r>
          </a:p>
        </p:txBody>
      </p:sp>
    </p:spTree>
    <p:extLst>
      <p:ext uri="{BB962C8B-B14F-4D97-AF65-F5344CB8AC3E}">
        <p14:creationId xmlns:p14="http://schemas.microsoft.com/office/powerpoint/2010/main" val="2452860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724" y="745"/>
          <a:ext cx="722" cy="72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479" imgH="478" progId="TCLayout.ActiveDocument.1">
                  <p:embed/>
                </p:oleObj>
              </mc:Choice>
              <mc:Fallback>
                <p:oleObj name="think-cell Slide" r:id="rId5" imgW="479" imgH="47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724" y="745"/>
                        <a:ext cx="722" cy="72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bject 2"/>
          <p:cNvSpPr/>
          <p:nvPr/>
        </p:nvSpPr>
        <p:spPr>
          <a:xfrm>
            <a:off x="0" y="-180"/>
            <a:ext cx="4572000" cy="5143572"/>
          </a:xfrm>
          <a:custGeom>
            <a:avLst/>
            <a:gdLst/>
            <a:ahLst/>
            <a:cxnLst/>
            <a:rect l="l" t="t" r="r" b="b"/>
            <a:pathLst>
              <a:path w="10052050" h="11308715">
                <a:moveTo>
                  <a:pt x="0" y="11308556"/>
                </a:moveTo>
                <a:lnTo>
                  <a:pt x="10052049" y="11308556"/>
                </a:lnTo>
                <a:lnTo>
                  <a:pt x="10052049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000000"/>
          </a:solid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sz="819">
              <a:solidFill>
                <a:prstClr val="black"/>
              </a:solidFill>
            </a:endParaRPr>
          </a:p>
        </p:txBody>
      </p:sp>
      <p:sp>
        <p:nvSpPr>
          <p:cNvPr id="3" name="object 3"/>
          <p:cNvSpPr/>
          <p:nvPr/>
        </p:nvSpPr>
        <p:spPr>
          <a:xfrm>
            <a:off x="1860949" y="-181"/>
            <a:ext cx="7283053" cy="5143500"/>
          </a:xfrm>
          <a:prstGeom prst="rect">
            <a:avLst/>
          </a:prstGeo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sz="819">
              <a:solidFill>
                <a:prstClr val="black"/>
              </a:solidFill>
            </a:endParaRPr>
          </a:p>
        </p:txBody>
      </p:sp>
      <p:sp>
        <p:nvSpPr>
          <p:cNvPr id="4" name="object 4"/>
          <p:cNvSpPr txBox="1"/>
          <p:nvPr/>
        </p:nvSpPr>
        <p:spPr>
          <a:xfrm>
            <a:off x="413340" y="1996831"/>
            <a:ext cx="4308130" cy="930620"/>
          </a:xfrm>
          <a:prstGeom prst="rect">
            <a:avLst/>
          </a:prstGeom>
        </p:spPr>
        <p:txBody>
          <a:bodyPr vert="horz" wrap="square" lIns="0" tIns="7220" rIns="0" bIns="0" rtlCol="0">
            <a:spAutoFit/>
          </a:bodyPr>
          <a:lstStyle/>
          <a:p>
            <a:pPr marL="5777">
              <a:spcBef>
                <a:spcPts val="57"/>
              </a:spcBef>
            </a:pPr>
            <a:r>
              <a:rPr sz="3000" b="0" spc="2" dirty="0">
                <a:solidFill>
                  <a:srgbClr val="FFFFFF"/>
                </a:solidFill>
                <a:latin typeface="Rostelecom Basis Medium" panose="020B0603030604040103" pitchFamily="34" charset="0"/>
                <a:cs typeface="ChevinPro-DemiBold"/>
              </a:rPr>
              <a:t>Киберугроза:</a:t>
            </a:r>
            <a:endParaRPr sz="3000" b="0" dirty="0">
              <a:solidFill>
                <a:prstClr val="black"/>
              </a:solidFill>
              <a:latin typeface="Rostelecom Basis Medium" panose="020B0603030604040103" pitchFamily="34" charset="0"/>
              <a:cs typeface="ChevinPro-DemiBold"/>
            </a:endParaRPr>
          </a:p>
          <a:p>
            <a:pPr marL="5777">
              <a:spcBef>
                <a:spcPts val="16"/>
              </a:spcBef>
            </a:pPr>
            <a:r>
              <a:rPr sz="3000" b="0" spc="5" dirty="0">
                <a:solidFill>
                  <a:srgbClr val="FFFFFF"/>
                </a:solidFill>
                <a:latin typeface="Rostelecom Basis Medium" panose="020B0603030604040103" pitchFamily="34" charset="0"/>
                <a:cs typeface="ChevinPro-DemiBold"/>
              </a:rPr>
              <a:t>миф </a:t>
            </a:r>
            <a:r>
              <a:rPr sz="3000" b="0" spc="5" dirty="0" err="1">
                <a:solidFill>
                  <a:srgbClr val="FFFFFF"/>
                </a:solidFill>
                <a:latin typeface="Rostelecom Basis Medium" panose="020B0603030604040103" pitchFamily="34" charset="0"/>
                <a:cs typeface="ChevinPro-DemiBold"/>
              </a:rPr>
              <a:t>или</a:t>
            </a:r>
            <a:r>
              <a:rPr sz="3000" b="0" spc="-23" dirty="0">
                <a:solidFill>
                  <a:srgbClr val="FFFFFF"/>
                </a:solidFill>
                <a:latin typeface="Rostelecom Basis Medium" panose="020B0603030604040103" pitchFamily="34" charset="0"/>
                <a:cs typeface="ChevinPro-DemiBold"/>
              </a:rPr>
              <a:t> </a:t>
            </a:r>
            <a:r>
              <a:rPr lang="ru-RU" sz="3000" b="0" spc="-23" dirty="0">
                <a:solidFill>
                  <a:srgbClr val="FFFFFF"/>
                </a:solidFill>
                <a:latin typeface="Rostelecom Basis Medium" panose="020B0603030604040103" pitchFamily="34" charset="0"/>
                <a:cs typeface="ChevinPro-DemiBold"/>
              </a:rPr>
              <a:t>р</a:t>
            </a:r>
            <a:r>
              <a:rPr sz="3000" b="0" spc="2" dirty="0" err="1">
                <a:solidFill>
                  <a:srgbClr val="FFFFFF"/>
                </a:solidFill>
                <a:latin typeface="Rostelecom Basis Medium" panose="020B0603030604040103" pitchFamily="34" charset="0"/>
                <a:cs typeface="ChevinPro-DemiBold"/>
              </a:rPr>
              <a:t>еальность</a:t>
            </a:r>
            <a:r>
              <a:rPr sz="3000" b="0" spc="2" dirty="0">
                <a:solidFill>
                  <a:srgbClr val="FFFFFF"/>
                </a:solidFill>
                <a:latin typeface="Rostelecom Basis Medium" panose="020B0603030604040103" pitchFamily="34" charset="0"/>
                <a:cs typeface="ChevinPro-DemiBold"/>
              </a:rPr>
              <a:t>?</a:t>
            </a:r>
            <a:endParaRPr sz="3000" b="0" dirty="0">
              <a:solidFill>
                <a:prstClr val="black"/>
              </a:solidFill>
              <a:latin typeface="Rostelecom Basis Medium" panose="020B0603030604040103" pitchFamily="34" charset="0"/>
              <a:cs typeface="ChevinPro-DemiBold"/>
            </a:endParaRPr>
          </a:p>
        </p:txBody>
      </p:sp>
    </p:spTree>
    <p:extLst>
      <p:ext uri="{BB962C8B-B14F-4D97-AF65-F5344CB8AC3E}">
        <p14:creationId xmlns:p14="http://schemas.microsoft.com/office/powerpoint/2010/main" val="619873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>
          <a:xfrm>
            <a:off x="4518835" y="1612"/>
            <a:ext cx="4377917" cy="486544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 algn="l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8600FF"/>
                </a:solidFill>
                <a:latin typeface="Rostelecom Basis" panose="020B0503030604040103" pitchFamily="34" charset="0"/>
              </a:rPr>
              <a:t>Домены (сайты). </a:t>
            </a:r>
            <a:r>
              <a:rPr lang="ru-RU" sz="14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В наше время уже бывает, что имя ребенку подбирают под свободный домен.</a:t>
            </a:r>
          </a:p>
          <a:p>
            <a:pPr marL="285750" indent="-285750" algn="l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8600FF"/>
                </a:solidFill>
                <a:latin typeface="Rostelecom Basis" panose="020B0503030604040103" pitchFamily="34" charset="0"/>
              </a:rPr>
              <a:t>Цифровые ресурсы. </a:t>
            </a:r>
            <a:r>
              <a:rPr lang="ru-RU" sz="1400" b="0" dirty="0" err="1">
                <a:solidFill>
                  <a:schemeClr val="tx1"/>
                </a:solidFill>
                <a:latin typeface="Rostelecom Basis" panose="020B0503030604040103" pitchFamily="34" charset="0"/>
              </a:rPr>
              <a:t>Wi-Fi</a:t>
            </a:r>
            <a:r>
              <a:rPr lang="ru-RU" sz="14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, место в облачном хранилище, виртуальные машины и прочее.</a:t>
            </a:r>
          </a:p>
          <a:p>
            <a:pPr marL="285750" indent="-285750" algn="l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8600FF"/>
                </a:solidFill>
                <a:latin typeface="Rostelecom Basis" panose="020B0503030604040103" pitchFamily="34" charset="0"/>
              </a:rPr>
              <a:t>Цифровая техника. </a:t>
            </a:r>
            <a:r>
              <a:rPr lang="ru-RU" sz="14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Телефон, компьютер и прочая умная электроника. </a:t>
            </a:r>
          </a:p>
          <a:p>
            <a:pPr marL="285750" indent="-285750" algn="l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8600FF"/>
                </a:solidFill>
                <a:latin typeface="Rostelecom Basis" panose="020B0503030604040103" pitchFamily="34" charset="0"/>
              </a:rPr>
              <a:t>Автомобиль. </a:t>
            </a:r>
            <a:r>
              <a:rPr lang="ru-RU" sz="14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Машины все больше превращаются  в компьютер на колесах – со всеми  вытекающими рисками.</a:t>
            </a:r>
          </a:p>
          <a:p>
            <a:pPr marL="285750" indent="-285750" algn="l">
              <a:spcBef>
                <a:spcPts val="1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b="0" dirty="0">
                <a:solidFill>
                  <a:srgbClr val="8600FF"/>
                </a:solidFill>
                <a:latin typeface="Rostelecom Basis" panose="020B0503030604040103" pitchFamily="34" charset="0"/>
              </a:rPr>
              <a:t>Умный дом. </a:t>
            </a:r>
            <a:r>
              <a:rPr lang="ru-RU" sz="1400" b="0" dirty="0">
                <a:solidFill>
                  <a:schemeClr val="tx1"/>
                </a:solidFill>
                <a:latin typeface="Rostelecom Basis" panose="020B0503030604040103" pitchFamily="34" charset="0"/>
              </a:rPr>
              <a:t>Эта тема только набирает популярность и пока не слишком волнует киберпреступников, но угрозы будут расти.</a:t>
            </a:r>
          </a:p>
        </p:txBody>
      </p:sp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341376" y="813435"/>
            <a:ext cx="4150944" cy="3516629"/>
          </a:xfrm>
        </p:spPr>
        <p:txBody>
          <a:bodyPr anchor="t"/>
          <a:lstStyle/>
          <a:p>
            <a:pPr marL="285750" lvl="0" indent="-28575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600FF"/>
                </a:solidFill>
              </a:rPr>
              <a:t>Деньги. </a:t>
            </a:r>
            <a:r>
              <a:rPr lang="ru-RU" sz="1400" dirty="0"/>
              <a:t>(они уже электронные)</a:t>
            </a:r>
          </a:p>
          <a:p>
            <a:pPr marL="285750" lvl="0" indent="-28575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600FF"/>
                </a:solidFill>
              </a:rPr>
              <a:t>Бонусы. </a:t>
            </a:r>
            <a:r>
              <a:rPr lang="ru-RU" sz="1400" dirty="0"/>
              <a:t>«Как бы деньги».</a:t>
            </a:r>
          </a:p>
          <a:p>
            <a:pPr marL="285750" lvl="0" indent="-28575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600FF"/>
                </a:solidFill>
              </a:rPr>
              <a:t>Персональные данные, </a:t>
            </a:r>
            <a:r>
              <a:rPr lang="ru-RU" sz="1400" dirty="0"/>
              <a:t>включая медицинские. </a:t>
            </a:r>
            <a:endParaRPr lang="en-US" sz="1400" dirty="0"/>
          </a:p>
          <a:p>
            <a:pPr marL="285750" lvl="0" indent="-28575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600FF"/>
                </a:solidFill>
              </a:rPr>
              <a:t>Репутация. </a:t>
            </a:r>
            <a:r>
              <a:rPr lang="ru-RU" sz="1400" dirty="0"/>
              <a:t>Интернет помнит все.</a:t>
            </a:r>
            <a:endParaRPr lang="en-US" sz="1400" dirty="0"/>
          </a:p>
          <a:p>
            <a:pPr marL="285750" lvl="0" indent="-28575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600FF"/>
                </a:solidFill>
              </a:rPr>
              <a:t>Переписка. </a:t>
            </a:r>
            <a:r>
              <a:rPr lang="ru-RU" sz="1400" dirty="0"/>
              <a:t>Деловая и личная.</a:t>
            </a:r>
          </a:p>
          <a:p>
            <a:pPr marL="285750" lvl="0" indent="-28575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600FF"/>
                </a:solidFill>
              </a:rPr>
              <a:t>Цифровые коллекции. </a:t>
            </a:r>
            <a:r>
              <a:rPr lang="ru-RU" sz="1400" dirty="0"/>
              <a:t>Музыка, кино, файлы, фотографии. </a:t>
            </a:r>
          </a:p>
          <a:p>
            <a:pPr marL="285750" lvl="0" indent="-28575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600FF"/>
                </a:solidFill>
              </a:rPr>
              <a:t>Виртуальные вещи. </a:t>
            </a:r>
            <a:r>
              <a:rPr lang="ru-RU" sz="1400" dirty="0"/>
              <a:t>Пока в играх, дальше – больше.</a:t>
            </a:r>
          </a:p>
          <a:p>
            <a:pPr marL="285750" indent="-28575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rgbClr val="8600FF"/>
                </a:solidFill>
              </a:rPr>
              <a:t>Контакты и заметки. </a:t>
            </a:r>
            <a:r>
              <a:rPr lang="ru-RU" sz="1400" dirty="0"/>
              <a:t>Ведь никто уже не держит записных книжек, не так ли?</a:t>
            </a:r>
          </a:p>
          <a:p>
            <a:pPr marL="285750" lvl="0" indent="-285750">
              <a:lnSpc>
                <a:spcPct val="100000"/>
              </a:lnSpc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ru-RU" sz="1400" dirty="0"/>
          </a:p>
          <a:p>
            <a:pPr marL="171450" indent="-171450">
              <a:lnSpc>
                <a:spcPct val="100000"/>
              </a:lnSpc>
              <a:spcBef>
                <a:spcPts val="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08836" y="272462"/>
            <a:ext cx="8219998" cy="766364"/>
          </a:xfrm>
        </p:spPr>
        <p:txBody>
          <a:bodyPr/>
          <a:lstStyle/>
          <a:p>
            <a:r>
              <a:rPr lang="ru-RU" dirty="0">
                <a:latin typeface="Rostelecom Basis Medium" panose="020B0603030604040103" pitchFamily="34" charset="0"/>
              </a:rPr>
              <a:t>Мифы о «цифровых бедняках»</a:t>
            </a:r>
            <a:br>
              <a:rPr lang="ru-RU" dirty="0">
                <a:latin typeface="Rostelecom Basis Medium" panose="020B0603030604040103" pitchFamily="34" charset="0"/>
              </a:rPr>
            </a:br>
            <a:endParaRPr lang="ru-RU" dirty="0">
              <a:latin typeface="Rostelecom Basis Medium" panose="020B06030306040401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830608" y="2347338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96386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2"/>
          </p:nvPr>
        </p:nvSpPr>
        <p:spPr>
          <a:xfrm>
            <a:off x="443281" y="1550474"/>
            <a:ext cx="4150944" cy="2042547"/>
          </a:xfrm>
        </p:spPr>
        <p:txBody>
          <a:bodyPr anchor="t"/>
          <a:lstStyle/>
          <a:p>
            <a:pPr marL="285750" indent="-285750"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cs typeface="Calibri" panose="020F0502020204030204" pitchFamily="34" charset="0"/>
              </a:rPr>
              <a:t>Обогащение за ваш счет</a:t>
            </a:r>
          </a:p>
          <a:p>
            <a:pPr marL="285750" indent="-285750"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cs typeface="Calibri" panose="020F0502020204030204" pitchFamily="34" charset="0"/>
              </a:rPr>
              <a:t>За счет ваших друзей</a:t>
            </a:r>
          </a:p>
          <a:p>
            <a:pPr marL="285750" indent="-285750"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cs typeface="Calibri" panose="020F0502020204030204" pitchFamily="34" charset="0"/>
              </a:rPr>
              <a:t>Политические активисты</a:t>
            </a:r>
          </a:p>
          <a:p>
            <a:pPr marL="285750" indent="-285750"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cs typeface="Calibri" panose="020F0502020204030204" pitchFamily="34" charset="0"/>
              </a:rPr>
              <a:t>Вербовка криминала</a:t>
            </a:r>
          </a:p>
          <a:p>
            <a:pPr marL="285750" indent="-285750">
              <a:buClr>
                <a:srgbClr val="8600FF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cs typeface="Calibri" panose="020F0502020204030204" pitchFamily="34" charset="0"/>
              </a:rPr>
              <a:t>Поступки психически нездоровых людей</a:t>
            </a: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20968" y="278906"/>
            <a:ext cx="8219998" cy="433965"/>
          </a:xfrm>
        </p:spPr>
        <p:txBody>
          <a:bodyPr/>
          <a:lstStyle/>
          <a:p>
            <a:r>
              <a:rPr lang="ru-RU" dirty="0">
                <a:latin typeface="Rostelecom Basis Medium" panose="020B0603030604040103" pitchFamily="34" charset="0"/>
                <a:cs typeface="Calibri" panose="020F0502020204030204" pitchFamily="34" charset="0"/>
              </a:rPr>
              <a:t>Цели злоумышленников: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4852416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7520" y="813435"/>
            <a:ext cx="1975104" cy="2654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t"/>
            <a:endParaRPr lang="ru-RU" b="0" dirty="0">
              <a:solidFill>
                <a:srgbClr val="313131"/>
              </a:solidFill>
              <a:latin typeface="Rostelecom Basis Medium" panose="020B060402020202020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D3369674-AD22-4F45-8623-7F581F43348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53280" y="789288"/>
            <a:ext cx="5056342" cy="35407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91733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422017" y="251095"/>
            <a:ext cx="8219998" cy="470656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altLang="ru-RU" dirty="0">
                <a:latin typeface="Rostelecom Basis Medium" panose="020B0603030604040103" pitchFamily="34" charset="0"/>
                <a:ea typeface="Verdana" panose="020B0604030504040204" pitchFamily="34" charset="0"/>
                <a:cs typeface="Tahoma" panose="020B0604030504040204" pitchFamily="34" charset="0"/>
              </a:rPr>
              <a:t>Как нас взламывают?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735155" y="3824503"/>
            <a:ext cx="18473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endParaRPr lang="ru-RU" sz="1000" dirty="0">
              <a:solidFill>
                <a:schemeClr val="accent5">
                  <a:lumMod val="75000"/>
                </a:schemeClr>
              </a:solidFill>
              <a:latin typeface="Rostelecom Basis" panose="020B0503030604040103" pitchFamily="34" charset="0"/>
            </a:endParaRPr>
          </a:p>
        </p:txBody>
      </p:sp>
      <p:sp>
        <p:nvSpPr>
          <p:cNvPr id="9" name="Объект 2">
            <a:extLst>
              <a:ext uri="{FF2B5EF4-FFF2-40B4-BE49-F238E27FC236}">
                <a16:creationId xmlns:a16="http://schemas.microsoft.com/office/drawing/2014/main" id="{A5A30F67-10F4-4B19-BD1E-68E7806FF9FB}"/>
              </a:ext>
            </a:extLst>
          </p:cNvPr>
          <p:cNvSpPr txBox="1">
            <a:spLocks/>
          </p:cNvSpPr>
          <p:nvPr/>
        </p:nvSpPr>
        <p:spPr>
          <a:xfrm>
            <a:off x="814645" y="2258390"/>
            <a:ext cx="4098746" cy="2010962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Фишинг</a:t>
            </a:r>
            <a:endParaRPr lang="ru-RU" sz="1800" b="0" dirty="0">
              <a:solidFill>
                <a:schemeClr val="tx1">
                  <a:lumMod val="75000"/>
                  <a:lumOff val="25000"/>
                </a:schemeClr>
              </a:solidFill>
              <a:latin typeface="Rostelecom Basis" panose="020B0503030604040103" pitchFamily="34" charset="0"/>
            </a:endParaRPr>
          </a:p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Социальная инженерия</a:t>
            </a:r>
          </a:p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Зловреды</a:t>
            </a:r>
            <a:r>
              <a:rPr lang="ru-RU" sz="1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 на сайтах</a:t>
            </a:r>
          </a:p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Утечки баз паролей</a:t>
            </a:r>
          </a:p>
        </p:txBody>
      </p:sp>
      <p:sp>
        <p:nvSpPr>
          <p:cNvPr id="12" name="Объект 2">
            <a:extLst>
              <a:ext uri="{FF2B5EF4-FFF2-40B4-BE49-F238E27FC236}">
                <a16:creationId xmlns:a16="http://schemas.microsoft.com/office/drawing/2014/main" id="{6D4C2FFF-5290-458E-B9E8-8013117BC0C4}"/>
              </a:ext>
            </a:extLst>
          </p:cNvPr>
          <p:cNvSpPr txBox="1">
            <a:spLocks/>
          </p:cNvSpPr>
          <p:nvPr/>
        </p:nvSpPr>
        <p:spPr>
          <a:xfrm>
            <a:off x="4832704" y="1778500"/>
            <a:ext cx="2032747" cy="330747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900"/>
              </a:spcAft>
              <a:buNone/>
            </a:pPr>
            <a:r>
              <a:rPr lang="ru-RU" sz="1800" b="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«Прицельно»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id="{6B7B2510-C6C9-416E-837E-DCEE4B4F36F9}"/>
              </a:ext>
            </a:extLst>
          </p:cNvPr>
          <p:cNvSpPr txBox="1">
            <a:spLocks/>
          </p:cNvSpPr>
          <p:nvPr/>
        </p:nvSpPr>
        <p:spPr>
          <a:xfrm>
            <a:off x="4508471" y="2252937"/>
            <a:ext cx="4544348" cy="2010962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Брутфорс</a:t>
            </a:r>
            <a:r>
              <a:rPr lang="ru-RU" sz="1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 </a:t>
            </a:r>
            <a:r>
              <a:rPr lang="ru-RU" sz="1800" b="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эккаунтов</a:t>
            </a:r>
            <a:endParaRPr lang="ru-RU" sz="1800" b="0" dirty="0">
              <a:solidFill>
                <a:schemeClr val="tx1">
                  <a:lumMod val="75000"/>
                  <a:lumOff val="25000"/>
                </a:schemeClr>
              </a:solidFill>
              <a:latin typeface="Rostelecom Basis" panose="020B0503030604040103" pitchFamily="34" charset="0"/>
            </a:endParaRPr>
          </a:p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Зараженные флэшки</a:t>
            </a:r>
          </a:p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Взлом через ваших близких</a:t>
            </a:r>
          </a:p>
          <a:p>
            <a:pPr lvl="1" indent="-342900">
              <a:spcBef>
                <a:spcPts val="0"/>
              </a:spcBef>
              <a:spcAft>
                <a:spcPts val="900"/>
              </a:spcAft>
              <a:buClr>
                <a:srgbClr val="8600FF"/>
              </a:buClr>
              <a:buFont typeface="+mj-lt"/>
              <a:buAutoNum type="arabicPeriod"/>
            </a:pPr>
            <a:r>
              <a:rPr lang="ru-RU" sz="1800" b="0" dirty="0">
                <a:solidFill>
                  <a:schemeClr val="tx1">
                    <a:lumMod val="75000"/>
                    <a:lumOff val="25000"/>
                  </a:schemeClr>
                </a:solidFill>
                <a:latin typeface="Rostelecom Basis" panose="020B0503030604040103" pitchFamily="34" charset="0"/>
              </a:rPr>
              <a:t>Физический доступ к устройствам</a:t>
            </a:r>
          </a:p>
        </p:txBody>
      </p:sp>
      <p:sp>
        <p:nvSpPr>
          <p:cNvPr id="14" name="Объект 2">
            <a:extLst>
              <a:ext uri="{FF2B5EF4-FFF2-40B4-BE49-F238E27FC236}">
                <a16:creationId xmlns:a16="http://schemas.microsoft.com/office/drawing/2014/main" id="{C35D16F1-3CF5-463B-A78C-8052595D08B9}"/>
              </a:ext>
            </a:extLst>
          </p:cNvPr>
          <p:cNvSpPr txBox="1">
            <a:spLocks/>
          </p:cNvSpPr>
          <p:nvPr/>
        </p:nvSpPr>
        <p:spPr>
          <a:xfrm>
            <a:off x="1088798" y="1778500"/>
            <a:ext cx="2640095" cy="330747"/>
          </a:xfrm>
          <a:prstGeom prst="rect">
            <a:avLst/>
          </a:prstGeom>
        </p:spPr>
        <p:txBody>
          <a:bodyPr vert="horz" lIns="68580" tIns="34290" rIns="68580" bIns="3429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C8023"/>
              </a:buClr>
              <a:buSzPct val="120000"/>
              <a:buFont typeface="Arial" panose="020B0604020202020204" pitchFamily="34" charset="0"/>
              <a:buChar char="•"/>
              <a:defRPr sz="2000" kern="1200">
                <a:solidFill>
                  <a:schemeClr val="tx1">
                    <a:lumMod val="50000"/>
                    <a:lumOff val="50000"/>
                  </a:schemeClr>
                </a:solidFill>
                <a:latin typeface="Segoe" panose="020B0502040504020203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900"/>
              </a:spcAft>
              <a:buNone/>
            </a:pPr>
            <a:r>
              <a:rPr lang="ru-RU" sz="1800" b="0" dirty="0">
                <a:solidFill>
                  <a:srgbClr val="8600FF"/>
                </a:solidFill>
                <a:latin typeface="Rostelecom Basis Medium" panose="020B0603030604040103" pitchFamily="34" charset="0"/>
              </a:rPr>
              <a:t>«Широковещательно»</a:t>
            </a:r>
          </a:p>
        </p:txBody>
      </p:sp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42E7A00C-35FA-4B19-87EB-7B5E881AC3C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34663" y="1757105"/>
            <a:ext cx="682498" cy="628170"/>
          </a:xfrm>
          <a:prstGeom prst="rect">
            <a:avLst/>
          </a:prstGeom>
        </p:spPr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A53763FB-6354-414A-9AE0-4125767DC64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12497" y="1754242"/>
            <a:ext cx="685608" cy="631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96393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Обложки презентаций">
  <a:themeElements>
    <a:clrScheme name="RTC">
      <a:dk1>
        <a:srgbClr val="000000"/>
      </a:dk1>
      <a:lt1>
        <a:srgbClr val="FFFFFF"/>
      </a:lt1>
      <a:dk2>
        <a:srgbClr val="97989A"/>
      </a:dk2>
      <a:lt2>
        <a:srgbClr val="E3E9EC"/>
      </a:lt2>
      <a:accent1>
        <a:srgbClr val="7800FF"/>
      </a:accent1>
      <a:accent2>
        <a:srgbClr val="BC104B"/>
      </a:accent2>
      <a:accent3>
        <a:srgbClr val="273A64"/>
      </a:accent3>
      <a:accent4>
        <a:srgbClr val="FFBE08"/>
      </a:accent4>
      <a:accent5>
        <a:srgbClr val="65B8DF"/>
      </a:accent5>
      <a:accent6>
        <a:srgbClr val="FFBFC3"/>
      </a:accent6>
      <a:hlink>
        <a:srgbClr val="57D9B7"/>
      </a:hlink>
      <a:folHlink>
        <a:srgbClr val="F05223"/>
      </a:folHlink>
    </a:clrScheme>
    <a:fontScheme name="RTC-fonts">
      <a:majorFont>
        <a:latin typeface="Basis Grotesque Pro Medium"/>
        <a:ea typeface=""/>
        <a:cs typeface=""/>
      </a:majorFont>
      <a:minorFont>
        <a:latin typeface="Basis Grotesque Pro Medium"/>
        <a:ea typeface=""/>
        <a:cs typeface="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  <a:extLst>
    <a:ext uri="{05A4C25C-085E-4340-85A3-A5531E510DB2}">
      <thm15:themeFamily xmlns:thm15="http://schemas.microsoft.com/office/thememl/2012/main" name="пример" id="{A6CBC3D4-1F4B-448F-B2F6-509575117A74}" vid="{B8ED14AB-B908-499F-8249-6D68D52965C6}"/>
    </a:ext>
  </a:extLst>
</a:theme>
</file>

<file path=ppt/theme/theme2.xml><?xml version="1.0" encoding="utf-8"?>
<a:theme xmlns:a="http://schemas.openxmlformats.org/drawingml/2006/main" name="Темы и обложки разделов">
  <a:themeElements>
    <a:clrScheme name="RTC">
      <a:dk1>
        <a:srgbClr val="000000"/>
      </a:dk1>
      <a:lt1>
        <a:srgbClr val="FFFFFF"/>
      </a:lt1>
      <a:dk2>
        <a:srgbClr val="97989A"/>
      </a:dk2>
      <a:lt2>
        <a:srgbClr val="E3E9EC"/>
      </a:lt2>
      <a:accent1>
        <a:srgbClr val="7800FF"/>
      </a:accent1>
      <a:accent2>
        <a:srgbClr val="BC104B"/>
      </a:accent2>
      <a:accent3>
        <a:srgbClr val="273A64"/>
      </a:accent3>
      <a:accent4>
        <a:srgbClr val="FFBE08"/>
      </a:accent4>
      <a:accent5>
        <a:srgbClr val="65B8DF"/>
      </a:accent5>
      <a:accent6>
        <a:srgbClr val="FFBFC3"/>
      </a:accent6>
      <a:hlink>
        <a:srgbClr val="57D9B7"/>
      </a:hlink>
      <a:folHlink>
        <a:srgbClr val="F05223"/>
      </a:folHlink>
    </a:clrScheme>
    <a:fontScheme name="RTC-fonts">
      <a:majorFont>
        <a:latin typeface="Basis Grotesque Pro Medium"/>
        <a:ea typeface=""/>
        <a:cs typeface=""/>
      </a:majorFont>
      <a:minorFont>
        <a:latin typeface="Basis Grotesque Pro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имер" id="{A6CBC3D4-1F4B-448F-B2F6-509575117A74}" vid="{61A6F4A2-8E1F-465E-B446-77F29F271F04}"/>
    </a:ext>
  </a:extLst>
</a:theme>
</file>

<file path=ppt/theme/theme3.xml><?xml version="1.0" encoding="utf-8"?>
<a:theme xmlns:a="http://schemas.openxmlformats.org/drawingml/2006/main" name="Тезисы и цитаты">
  <a:themeElements>
    <a:clrScheme name="RTC">
      <a:dk1>
        <a:srgbClr val="000000"/>
      </a:dk1>
      <a:lt1>
        <a:srgbClr val="FFFFFF"/>
      </a:lt1>
      <a:dk2>
        <a:srgbClr val="97989A"/>
      </a:dk2>
      <a:lt2>
        <a:srgbClr val="E3E9EC"/>
      </a:lt2>
      <a:accent1>
        <a:srgbClr val="7800FF"/>
      </a:accent1>
      <a:accent2>
        <a:srgbClr val="BC104B"/>
      </a:accent2>
      <a:accent3>
        <a:srgbClr val="273A64"/>
      </a:accent3>
      <a:accent4>
        <a:srgbClr val="FFBE08"/>
      </a:accent4>
      <a:accent5>
        <a:srgbClr val="65B8DF"/>
      </a:accent5>
      <a:accent6>
        <a:srgbClr val="FFBFC3"/>
      </a:accent6>
      <a:hlink>
        <a:srgbClr val="57D9B7"/>
      </a:hlink>
      <a:folHlink>
        <a:srgbClr val="F05223"/>
      </a:folHlink>
    </a:clrScheme>
    <a:fontScheme name="RTC-fonts">
      <a:majorFont>
        <a:latin typeface="Basis Grotesque Pro Medium"/>
        <a:ea typeface=""/>
        <a:cs typeface=""/>
      </a:majorFont>
      <a:minorFont>
        <a:latin typeface="Basis Grotesque Pro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rIns="90000" rtlCol="0">
        <a:spAutoFit/>
      </a:bodyPr>
      <a:lstStyle>
        <a:defPPr algn="l">
          <a:lnSpc>
            <a:spcPct val="130000"/>
          </a:lnSpc>
          <a:defRPr sz="1800" b="0" dirty="0">
            <a:solidFill>
              <a:schemeClr val="bg1"/>
            </a:solidFill>
            <a:latin typeface="Basis Grotesque Pro" panose="02000503030000020004" pitchFamily="2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пример" id="{A6CBC3D4-1F4B-448F-B2F6-509575117A74}" vid="{F84F21FF-FA20-4F81-8CAE-0E4EE5B18367}"/>
    </a:ext>
  </a:extLst>
</a:theme>
</file>

<file path=ppt/theme/theme4.xml><?xml version="1.0" encoding="utf-8"?>
<a:theme xmlns:a="http://schemas.openxmlformats.org/drawingml/2006/main" name="Основные типы страницы">
  <a:themeElements>
    <a:clrScheme name="RTC">
      <a:dk1>
        <a:srgbClr val="000000"/>
      </a:dk1>
      <a:lt1>
        <a:srgbClr val="FFFFFF"/>
      </a:lt1>
      <a:dk2>
        <a:srgbClr val="97989A"/>
      </a:dk2>
      <a:lt2>
        <a:srgbClr val="E3E9EC"/>
      </a:lt2>
      <a:accent1>
        <a:srgbClr val="7800FF"/>
      </a:accent1>
      <a:accent2>
        <a:srgbClr val="BC104B"/>
      </a:accent2>
      <a:accent3>
        <a:srgbClr val="273A64"/>
      </a:accent3>
      <a:accent4>
        <a:srgbClr val="FFBE08"/>
      </a:accent4>
      <a:accent5>
        <a:srgbClr val="65B8DF"/>
      </a:accent5>
      <a:accent6>
        <a:srgbClr val="FFBFC3"/>
      </a:accent6>
      <a:hlink>
        <a:srgbClr val="57D9B7"/>
      </a:hlink>
      <a:folHlink>
        <a:srgbClr val="F05223"/>
      </a:folHlink>
    </a:clrScheme>
    <a:fontScheme name="RTC-fonts">
      <a:majorFont>
        <a:latin typeface="Basis Grotesque Pro Medium"/>
        <a:ea typeface=""/>
        <a:cs typeface=""/>
      </a:majorFont>
      <a:minorFont>
        <a:latin typeface="Basis Grotesque Pro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имер" id="{A6CBC3D4-1F4B-448F-B2F6-509575117A74}" vid="{6FB9068A-9D31-4872-B35A-1091B1577EE0}"/>
    </a:ext>
  </a:extLst>
</a:theme>
</file>

<file path=ppt/theme/theme5.xml><?xml version="1.0" encoding="utf-8"?>
<a:theme xmlns:a="http://schemas.openxmlformats.org/drawingml/2006/main" name="Инфографика">
  <a:themeElements>
    <a:clrScheme name="RTC">
      <a:dk1>
        <a:srgbClr val="000000"/>
      </a:dk1>
      <a:lt1>
        <a:srgbClr val="FFFFFF"/>
      </a:lt1>
      <a:dk2>
        <a:srgbClr val="97989A"/>
      </a:dk2>
      <a:lt2>
        <a:srgbClr val="E3E9EC"/>
      </a:lt2>
      <a:accent1>
        <a:srgbClr val="7800FF"/>
      </a:accent1>
      <a:accent2>
        <a:srgbClr val="BC104B"/>
      </a:accent2>
      <a:accent3>
        <a:srgbClr val="273A64"/>
      </a:accent3>
      <a:accent4>
        <a:srgbClr val="FFBE08"/>
      </a:accent4>
      <a:accent5>
        <a:srgbClr val="65B8DF"/>
      </a:accent5>
      <a:accent6>
        <a:srgbClr val="FFBFC3"/>
      </a:accent6>
      <a:hlink>
        <a:srgbClr val="57D9B7"/>
      </a:hlink>
      <a:folHlink>
        <a:srgbClr val="F05223"/>
      </a:folHlink>
    </a:clrScheme>
    <a:fontScheme name="RTC-fonts">
      <a:majorFont>
        <a:latin typeface="Basis Grotesque Pro Medium"/>
        <a:ea typeface=""/>
        <a:cs typeface=""/>
      </a:majorFont>
      <a:minorFont>
        <a:latin typeface="Basis Grotesque Pro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имер" id="{A6CBC3D4-1F4B-448F-B2F6-509575117A74}" vid="{03B17460-27D6-4F73-8EF9-3CB1E99E4DE1}"/>
    </a:ext>
  </a:extLst>
</a:theme>
</file>

<file path=ppt/theme/theme6.xml><?xml version="1.0" encoding="utf-8"?>
<a:theme xmlns:a="http://schemas.openxmlformats.org/drawingml/2006/main" name="Таблицы и графики">
  <a:themeElements>
    <a:clrScheme name="RTC">
      <a:dk1>
        <a:srgbClr val="000000"/>
      </a:dk1>
      <a:lt1>
        <a:srgbClr val="FFFFFF"/>
      </a:lt1>
      <a:dk2>
        <a:srgbClr val="97989A"/>
      </a:dk2>
      <a:lt2>
        <a:srgbClr val="E3E9EC"/>
      </a:lt2>
      <a:accent1>
        <a:srgbClr val="7800FF"/>
      </a:accent1>
      <a:accent2>
        <a:srgbClr val="BC104B"/>
      </a:accent2>
      <a:accent3>
        <a:srgbClr val="273A64"/>
      </a:accent3>
      <a:accent4>
        <a:srgbClr val="FFBE08"/>
      </a:accent4>
      <a:accent5>
        <a:srgbClr val="65B8DF"/>
      </a:accent5>
      <a:accent6>
        <a:srgbClr val="FFBFC3"/>
      </a:accent6>
      <a:hlink>
        <a:srgbClr val="57D9B7"/>
      </a:hlink>
      <a:folHlink>
        <a:srgbClr val="F05223"/>
      </a:folHlink>
    </a:clrScheme>
    <a:fontScheme name="RTC-fonts">
      <a:majorFont>
        <a:latin typeface="Basis Grotesque Pro Medium"/>
        <a:ea typeface=""/>
        <a:cs typeface=""/>
      </a:majorFont>
      <a:minorFont>
        <a:latin typeface="Basis Grotesque Pro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имер" id="{A6CBC3D4-1F4B-448F-B2F6-509575117A74}" vid="{C9C646AE-174D-4F7E-A164-16E85BE3D56E}"/>
    </a:ext>
  </a:extLst>
</a:theme>
</file>

<file path=ppt/theme/theme7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E5E5E"/>
      </a:dk2>
      <a:lt2>
        <a:srgbClr val="D5D5D5"/>
      </a:lt2>
      <a:accent1>
        <a:srgbClr val="00A2FF"/>
      </a:accent1>
      <a:accent2>
        <a:srgbClr val="16E7CF"/>
      </a:accent2>
      <a:accent3>
        <a:srgbClr val="61D836"/>
      </a:accent3>
      <a:accent4>
        <a:srgbClr val="FAE232"/>
      </a:accent4>
      <a:accent5>
        <a:srgbClr val="FF644E"/>
      </a:accent5>
      <a:accent6>
        <a:srgbClr val="EF5FA7"/>
      </a:accent6>
      <a:hlink>
        <a:srgbClr val="0000FF"/>
      </a:hlink>
      <a:folHlink>
        <a:srgbClr val="FF00FF"/>
      </a:folHlink>
    </a:clrScheme>
    <a:fontScheme name="White">
      <a:majorFont>
        <a:latin typeface="Helvetica Neue Medium"/>
        <a:ea typeface="Helvetica Neue Medium"/>
        <a:cs typeface="Helvetica Neue Medium"/>
      </a:majorFont>
      <a:minorFont>
        <a:latin typeface="Helvetica Neue Medium"/>
        <a:ea typeface="Helvetica Neue Medium"/>
        <a:cs typeface="Helvetica Neue Medium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/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0" tIns="0" rIns="0" bIns="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Neue Medium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000" b="1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Helvetica Neue"/>
            <a:ea typeface="Helvetica Neue"/>
            <a:cs typeface="Helvetica Neue"/>
            <a:sym typeface="Helvetica Neue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презентации Ростелеком-Солар</Template>
  <TotalTime>7396</TotalTime>
  <Words>1128</Words>
  <Application>Microsoft Office PowerPoint</Application>
  <PresentationFormat>Экран (16:9)</PresentationFormat>
  <Paragraphs>151</Paragraphs>
  <Slides>37</Slides>
  <Notes>2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6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7</vt:i4>
      </vt:variant>
    </vt:vector>
  </HeadingPairs>
  <TitlesOfParts>
    <vt:vector size="60" baseType="lpstr">
      <vt:lpstr>Basis Grotesque Pro</vt:lpstr>
      <vt:lpstr>Basis Grotesque Pro Medium</vt:lpstr>
      <vt:lpstr>Rostelecom Basis Medium </vt:lpstr>
      <vt:lpstr>Calibri</vt:lpstr>
      <vt:lpstr>Times New Roman</vt:lpstr>
      <vt:lpstr>Helvetica Neue Medium</vt:lpstr>
      <vt:lpstr>ChevinPro-DemiBold</vt:lpstr>
      <vt:lpstr>Helvetica Neue</vt:lpstr>
      <vt:lpstr>Arial Regular</vt:lpstr>
      <vt:lpstr>Verdana</vt:lpstr>
      <vt:lpstr>Arial</vt:lpstr>
      <vt:lpstr>Chevin Pro Medium</vt:lpstr>
      <vt:lpstr>Rostelecom Basis regular </vt:lpstr>
      <vt:lpstr>Rostelecom Basis Medium</vt:lpstr>
      <vt:lpstr>Tahoma</vt:lpstr>
      <vt:lpstr>Rostelecom Basis</vt:lpstr>
      <vt:lpstr>Обложки презентаций</vt:lpstr>
      <vt:lpstr>Темы и обложки разделов</vt:lpstr>
      <vt:lpstr>Тезисы и цитаты</vt:lpstr>
      <vt:lpstr>Основные типы страницы</vt:lpstr>
      <vt:lpstr>Инфографика</vt:lpstr>
      <vt:lpstr>Таблицы и графики</vt:lpstr>
      <vt:lpstr>think-cell Slide</vt:lpstr>
      <vt:lpstr>Основы кибергигиены</vt:lpstr>
      <vt:lpstr>Масштабы перемен</vt:lpstr>
      <vt:lpstr>Прогноз ООН</vt:lpstr>
      <vt:lpstr>Компоненты Умных городов</vt:lpstr>
      <vt:lpstr>Угрозы кибербезопасности умных городов</vt:lpstr>
      <vt:lpstr>Презентация PowerPoint</vt:lpstr>
      <vt:lpstr>Мифы о «цифровых бедняках» </vt:lpstr>
      <vt:lpstr>Цели злоумышленников:</vt:lpstr>
      <vt:lpstr>Как нас взламывают?</vt:lpstr>
      <vt:lpstr>Беспечность</vt:lpstr>
      <vt:lpstr>Как узнать что я заражен?</vt:lpstr>
      <vt:lpstr>Как узнать что я заражен?</vt:lpstr>
      <vt:lpstr>Как узнать что я заражен?</vt:lpstr>
      <vt:lpstr>Два ключа лучше, чем один!</vt:lpstr>
      <vt:lpstr>Правила парольной защиты</vt:lpstr>
      <vt:lpstr>Презентация PowerPoint</vt:lpstr>
      <vt:lpstr>Презентация PowerPoint</vt:lpstr>
      <vt:lpstr>Несколько правил кибергигиены:</vt:lpstr>
      <vt:lpstr>Примеры фишинга</vt:lpstr>
      <vt:lpstr>Вот приходит «жирный тролль» …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рямов Кирилл</dc:creator>
  <cp:lastModifiedBy>Седов Олег Витальевич</cp:lastModifiedBy>
  <cp:revision>211</cp:revision>
  <dcterms:created xsi:type="dcterms:W3CDTF">2019-07-16T09:32:56Z</dcterms:created>
  <dcterms:modified xsi:type="dcterms:W3CDTF">2022-02-21T13:48:20Z</dcterms:modified>
</cp:coreProperties>
</file>